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2" r:id="rId2"/>
  </p:sldMasterIdLst>
  <p:notesMasterIdLst>
    <p:notesMasterId r:id="rId12"/>
  </p:notesMasterIdLst>
  <p:sldIdLst>
    <p:sldId id="1790" r:id="rId3"/>
    <p:sldId id="2147471888" r:id="rId4"/>
    <p:sldId id="261" r:id="rId5"/>
    <p:sldId id="2147471886" r:id="rId6"/>
    <p:sldId id="2147471891" r:id="rId7"/>
    <p:sldId id="2147471890" r:id="rId8"/>
    <p:sldId id="2147471893" r:id="rId9"/>
    <p:sldId id="2147471887" r:id="rId10"/>
    <p:sldId id="1853" r:id="rId11"/>
  </p:sldIdLst>
  <p:sldSz cx="12192000" cy="6858000"/>
  <p:notesSz cx="6858000" cy="9144000"/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5EF9FEE9-D5B1-ED2B-B4DA-AAB14966FA0D}" name="Joseph Cozer Saadia" initials="JCS" userId="S::jsaadia@timbrasil.com.br::dd6f9d04-8679-4245-b81e-18c01b35a4cc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00F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B03DB08-CE28-4E31-8612-363DBC2FCE79}" v="31" dt="2023-04-05T20:43:44.263"/>
    <p1510:client id="{C3C7963B-251D-4A43-A4B6-EFE624D84744}" v="503" dt="2023-04-05T21:32:37.700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67" d="100"/>
          <a:sy n="67" d="100"/>
        </p:scale>
        <p:origin x="644" y="44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presProps" Target="presProps.xml"/><Relationship Id="rId18" Type="http://schemas.microsoft.com/office/2018/10/relationships/authors" Target="author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notesMaster" Target="notesMasters/notesMaster1.xml"/><Relationship Id="rId17" Type="http://schemas.microsoft.com/office/2015/10/relationships/revisionInfo" Target="revisionInfo.xml"/><Relationship Id="rId2" Type="http://schemas.openxmlformats.org/officeDocument/2006/relationships/slideMaster" Target="slideMasters/slideMaster2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theme" Target="theme/theme1.xml"/><Relationship Id="rId10" Type="http://schemas.openxmlformats.org/officeDocument/2006/relationships/slide" Target="slides/slide8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https://timbrasil-my.sharepoint.com/personal/dbandeira_timbrasil_com_br/Documents/Microsoft%20Teams%20Chat%20Files/BASE_CALLID_POS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https://timbrasil-my.sharepoint.com/personal/dbandeira_timbrasil_com_br/Documents/Microsoft%20Teams%20Chat%20Files/BASE_CALLID_POS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https://timbrasil-my.sharepoint.com/personal/dbandeira_timbrasil_com_br/Documents/Microsoft%20Teams%20Chat%20Files/BASE_CALLID_POS.xlsx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ChamadasAtendidas!$A$2</c:f>
              <c:strCache>
                <c:ptCount val="1"/>
                <c:pt idx="0">
                  <c:v>Churn Invol</c:v>
                </c:pt>
              </c:strCache>
            </c:strRef>
          </c:tx>
          <c:spPr>
            <a:ln w="28575" cap="rnd">
              <a:solidFill>
                <a:srgbClr val="0000F4"/>
              </a:solidFill>
              <a:round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ChamadasAtendidas!$B$1:$G$1</c:f>
              <c:numCache>
                <c:formatCode>mmm\-yy</c:formatCode>
                <c:ptCount val="6"/>
                <c:pt idx="0">
                  <c:v>44805</c:v>
                </c:pt>
                <c:pt idx="1">
                  <c:v>44835</c:v>
                </c:pt>
                <c:pt idx="2">
                  <c:v>44866</c:v>
                </c:pt>
                <c:pt idx="3">
                  <c:v>44896</c:v>
                </c:pt>
                <c:pt idx="4">
                  <c:v>44927</c:v>
                </c:pt>
                <c:pt idx="5">
                  <c:v>44958</c:v>
                </c:pt>
              </c:numCache>
            </c:numRef>
          </c:cat>
          <c:val>
            <c:numRef>
              <c:f>ChamadasAtendidas!$B$2:$G$2</c:f>
              <c:numCache>
                <c:formatCode>0.0%</c:formatCode>
                <c:ptCount val="6"/>
                <c:pt idx="0">
                  <c:v>0.25642490005711022</c:v>
                </c:pt>
                <c:pt idx="1">
                  <c:v>0.31543879687797449</c:v>
                </c:pt>
                <c:pt idx="2">
                  <c:v>0.20574909575480677</c:v>
                </c:pt>
                <c:pt idx="3">
                  <c:v>0.1289168094422235</c:v>
                </c:pt>
                <c:pt idx="4">
                  <c:v>6.0993717875499717E-2</c:v>
                </c:pt>
                <c:pt idx="5">
                  <c:v>4.1614315629164289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CC56-4FDB-8F75-05705E16C0F6}"/>
            </c:ext>
          </c:extLst>
        </c:ser>
        <c:ser>
          <c:idx val="1"/>
          <c:order val="1"/>
          <c:tx>
            <c:strRef>
              <c:f>ChamadasAtendidas!$A$3</c:f>
              <c:strCache>
                <c:ptCount val="1"/>
                <c:pt idx="0">
                  <c:v>Pos Puro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ChamadasAtendidas!$B$1:$G$1</c:f>
              <c:numCache>
                <c:formatCode>mmm\-yy</c:formatCode>
                <c:ptCount val="6"/>
                <c:pt idx="0">
                  <c:v>44805</c:v>
                </c:pt>
                <c:pt idx="1">
                  <c:v>44835</c:v>
                </c:pt>
                <c:pt idx="2">
                  <c:v>44866</c:v>
                </c:pt>
                <c:pt idx="3">
                  <c:v>44896</c:v>
                </c:pt>
                <c:pt idx="4">
                  <c:v>44927</c:v>
                </c:pt>
                <c:pt idx="5">
                  <c:v>44958</c:v>
                </c:pt>
              </c:numCache>
            </c:numRef>
          </c:cat>
          <c:val>
            <c:numRef>
              <c:f>ChamadasAtendidas!$B$3:$G$3</c:f>
              <c:numCache>
                <c:formatCode>0.0%</c:formatCode>
                <c:ptCount val="6"/>
                <c:pt idx="0">
                  <c:v>0.112</c:v>
                </c:pt>
                <c:pt idx="1">
                  <c:v>0.11700000000000001</c:v>
                </c:pt>
                <c:pt idx="2">
                  <c:v>9.9000000000000005E-2</c:v>
                </c:pt>
                <c:pt idx="3">
                  <c:v>8.3000000000000004E-2</c:v>
                </c:pt>
                <c:pt idx="4">
                  <c:v>8.4000000000000005E-2</c:v>
                </c:pt>
                <c:pt idx="5">
                  <c:v>6.8000000000000005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C56-4FDB-8F75-05705E16C0F6}"/>
            </c:ext>
          </c:extLst>
        </c:ser>
        <c:dLbls>
          <c:dLblPos val="t"/>
          <c:showLegendKey val="0"/>
          <c:showVal val="1"/>
          <c:showCatName val="0"/>
          <c:showSerName val="0"/>
          <c:showPercent val="0"/>
          <c:showBubbleSize val="0"/>
        </c:dLbls>
        <c:smooth val="0"/>
        <c:axId val="1111922000"/>
        <c:axId val="1111928656"/>
      </c:lineChart>
      <c:dateAx>
        <c:axId val="1111922000"/>
        <c:scaling>
          <c:orientation val="minMax"/>
        </c:scaling>
        <c:delete val="0"/>
        <c:axPos val="b"/>
        <c:numFmt formatCode="mmm\-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1111928656"/>
        <c:crosses val="autoZero"/>
        <c:auto val="1"/>
        <c:lblOffset val="100"/>
        <c:baseTimeUnit val="months"/>
      </c:dateAx>
      <c:valAx>
        <c:axId val="1111928656"/>
        <c:scaling>
          <c:orientation val="minMax"/>
        </c:scaling>
        <c:delete val="1"/>
        <c:axPos val="l"/>
        <c:numFmt formatCode="0.0%" sourceLinked="1"/>
        <c:majorTickMark val="none"/>
        <c:minorTickMark val="none"/>
        <c:tickLblPos val="nextTo"/>
        <c:crossAx val="111192200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pt-BR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00" b="0" i="0" u="none" strike="noStrike" kern="1200" spc="0" baseline="0">
                <a:solidFill>
                  <a:srgbClr val="0000F4"/>
                </a:solidFill>
                <a:latin typeface="TIM Sans" panose="00000500000000000000"/>
                <a:ea typeface="+mn-ea"/>
                <a:cs typeface="+mn-cs"/>
              </a:defRPr>
            </a:pPr>
            <a:r>
              <a:rPr lang="pt-BR" sz="1800">
                <a:solidFill>
                  <a:srgbClr val="0000F4"/>
                </a:solidFill>
                <a:latin typeface="TIM Sans" panose="00000500000000000000"/>
              </a:rPr>
              <a:t>Pos Puro x Churn Invol</a:t>
            </a:r>
            <a:r>
              <a:rPr lang="pt-BR" sz="1800" baseline="0">
                <a:solidFill>
                  <a:srgbClr val="0000F4"/>
                </a:solidFill>
                <a:latin typeface="TIM Sans" panose="00000500000000000000"/>
              </a:rPr>
              <a:t> Pos Puro</a:t>
            </a:r>
            <a:endParaRPr lang="pt-BR" sz="1800">
              <a:solidFill>
                <a:srgbClr val="0000F4"/>
              </a:solidFill>
              <a:latin typeface="TIM Sans" panose="00000500000000000000"/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0" i="0" u="none" strike="noStrike" kern="1200" spc="0" baseline="0">
              <a:solidFill>
                <a:srgbClr val="0000F4"/>
              </a:solidFill>
              <a:latin typeface="TIM Sans" panose="00000500000000000000"/>
              <a:ea typeface="+mn-ea"/>
              <a:cs typeface="+mn-cs"/>
            </a:defRPr>
          </a:pPr>
          <a:endParaRPr lang="pt-BR"/>
        </a:p>
      </c:txPr>
    </c:title>
    <c:autoTitleDeleted val="0"/>
    <c:plotArea>
      <c:layout>
        <c:manualLayout>
          <c:layoutTarget val="inner"/>
          <c:xMode val="edge"/>
          <c:yMode val="edge"/>
          <c:x val="0.14358667677674689"/>
          <c:y val="0.11181224800100345"/>
          <c:w val="0.8384776026887405"/>
          <c:h val="0.80088663432270613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Graficos!$C$13</c:f>
              <c:strCache>
                <c:ptCount val="1"/>
                <c:pt idx="0">
                  <c:v>Cancelamento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multiLvlStrRef>
              <c:f>Graficos!$A$14:$B$23</c:f>
              <c:multiLvlStrCache>
                <c:ptCount val="10"/>
                <c:lvl>
                  <c:pt idx="0">
                    <c:v>Churn Invol</c:v>
                  </c:pt>
                  <c:pt idx="1">
                    <c:v>Pos Puro</c:v>
                  </c:pt>
                  <c:pt idx="2">
                    <c:v>Churn Invol</c:v>
                  </c:pt>
                  <c:pt idx="3">
                    <c:v>Pos Puro</c:v>
                  </c:pt>
                  <c:pt idx="4">
                    <c:v>Churn Invol</c:v>
                  </c:pt>
                  <c:pt idx="5">
                    <c:v>Pos Puro</c:v>
                  </c:pt>
                  <c:pt idx="6">
                    <c:v>Churn Invol</c:v>
                  </c:pt>
                  <c:pt idx="7">
                    <c:v>Pos Puro</c:v>
                  </c:pt>
                  <c:pt idx="8">
                    <c:v>Churn Invol</c:v>
                  </c:pt>
                  <c:pt idx="9">
                    <c:v>Pos Puro</c:v>
                  </c:pt>
                </c:lvl>
                <c:lvl>
                  <c:pt idx="0">
                    <c:v>set/22</c:v>
                  </c:pt>
                  <c:pt idx="2">
                    <c:v>out/22</c:v>
                  </c:pt>
                  <c:pt idx="4">
                    <c:v>nov/22</c:v>
                  </c:pt>
                  <c:pt idx="6">
                    <c:v>dez/22</c:v>
                  </c:pt>
                  <c:pt idx="8">
                    <c:v>jan/23</c:v>
                  </c:pt>
                </c:lvl>
              </c:multiLvlStrCache>
            </c:multiLvlStrRef>
          </c:cat>
          <c:val>
            <c:numRef>
              <c:f>Graficos!$C$14:$C$23</c:f>
              <c:numCache>
                <c:formatCode>0.0%</c:formatCode>
                <c:ptCount val="10"/>
                <c:pt idx="0">
                  <c:v>0.1725067385444744</c:v>
                </c:pt>
                <c:pt idx="1">
                  <c:v>0.20410482374767999</c:v>
                </c:pt>
                <c:pt idx="2">
                  <c:v>0.19469026548672566</c:v>
                </c:pt>
                <c:pt idx="3">
                  <c:v>0.185848844190933</c:v>
                </c:pt>
                <c:pt idx="4">
                  <c:v>0.2411764705882353</c:v>
                </c:pt>
                <c:pt idx="5">
                  <c:v>0.181793144358289</c:v>
                </c:pt>
                <c:pt idx="6">
                  <c:v>0.18243243243243243</c:v>
                </c:pt>
                <c:pt idx="7">
                  <c:v>0.16851679933632199</c:v>
                </c:pt>
                <c:pt idx="8">
                  <c:v>0.21785714285714286</c:v>
                </c:pt>
                <c:pt idx="9">
                  <c:v>0.177106736863283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211-4631-B162-677226739267}"/>
            </c:ext>
          </c:extLst>
        </c:ser>
        <c:ser>
          <c:idx val="1"/>
          <c:order val="1"/>
          <c:tx>
            <c:strRef>
              <c:f>Graficos!$D$13</c:f>
              <c:strCache>
                <c:ptCount val="1"/>
                <c:pt idx="0">
                  <c:v>Baixa Pgto no Sistema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multiLvlStrRef>
              <c:f>Graficos!$A$14:$B$23</c:f>
              <c:multiLvlStrCache>
                <c:ptCount val="10"/>
                <c:lvl>
                  <c:pt idx="0">
                    <c:v>Churn Invol</c:v>
                  </c:pt>
                  <c:pt idx="1">
                    <c:v>Pos Puro</c:v>
                  </c:pt>
                  <c:pt idx="2">
                    <c:v>Churn Invol</c:v>
                  </c:pt>
                  <c:pt idx="3">
                    <c:v>Pos Puro</c:v>
                  </c:pt>
                  <c:pt idx="4">
                    <c:v>Churn Invol</c:v>
                  </c:pt>
                  <c:pt idx="5">
                    <c:v>Pos Puro</c:v>
                  </c:pt>
                  <c:pt idx="6">
                    <c:v>Churn Invol</c:v>
                  </c:pt>
                  <c:pt idx="7">
                    <c:v>Pos Puro</c:v>
                  </c:pt>
                  <c:pt idx="8">
                    <c:v>Churn Invol</c:v>
                  </c:pt>
                  <c:pt idx="9">
                    <c:v>Pos Puro</c:v>
                  </c:pt>
                </c:lvl>
                <c:lvl>
                  <c:pt idx="0">
                    <c:v>set/22</c:v>
                  </c:pt>
                  <c:pt idx="2">
                    <c:v>out/22</c:v>
                  </c:pt>
                  <c:pt idx="4">
                    <c:v>nov/22</c:v>
                  </c:pt>
                  <c:pt idx="6">
                    <c:v>dez/22</c:v>
                  </c:pt>
                  <c:pt idx="8">
                    <c:v>jan/23</c:v>
                  </c:pt>
                </c:lvl>
              </c:multiLvlStrCache>
            </c:multiLvlStrRef>
          </c:cat>
          <c:val>
            <c:numRef>
              <c:f>Graficos!$D$14:$D$23</c:f>
              <c:numCache>
                <c:formatCode>0.0%</c:formatCode>
                <c:ptCount val="10"/>
                <c:pt idx="0">
                  <c:v>0.18059299191374664</c:v>
                </c:pt>
                <c:pt idx="1">
                  <c:v>0.12407235621521299</c:v>
                </c:pt>
                <c:pt idx="2">
                  <c:v>0.15398230088495576</c:v>
                </c:pt>
                <c:pt idx="3">
                  <c:v>0.130535124587211</c:v>
                </c:pt>
                <c:pt idx="4">
                  <c:v>0.10588235294117647</c:v>
                </c:pt>
                <c:pt idx="5">
                  <c:v>0.115673064700648</c:v>
                </c:pt>
                <c:pt idx="6">
                  <c:v>0.17117117117117117</c:v>
                </c:pt>
                <c:pt idx="7">
                  <c:v>0.112390621605072</c:v>
                </c:pt>
                <c:pt idx="8">
                  <c:v>0.17142857142857143</c:v>
                </c:pt>
                <c:pt idx="9">
                  <c:v>0.11241239395057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211-4631-B162-677226739267}"/>
            </c:ext>
          </c:extLst>
        </c:ser>
        <c:ser>
          <c:idx val="2"/>
          <c:order val="2"/>
          <c:tx>
            <c:strRef>
              <c:f>Graficos!$E$13</c:f>
              <c:strCache>
                <c:ptCount val="1"/>
                <c:pt idx="0">
                  <c:v>Informação sobre Plano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multiLvlStrRef>
              <c:f>Graficos!$A$14:$B$23</c:f>
              <c:multiLvlStrCache>
                <c:ptCount val="10"/>
                <c:lvl>
                  <c:pt idx="0">
                    <c:v>Churn Invol</c:v>
                  </c:pt>
                  <c:pt idx="1">
                    <c:v>Pos Puro</c:v>
                  </c:pt>
                  <c:pt idx="2">
                    <c:v>Churn Invol</c:v>
                  </c:pt>
                  <c:pt idx="3">
                    <c:v>Pos Puro</c:v>
                  </c:pt>
                  <c:pt idx="4">
                    <c:v>Churn Invol</c:v>
                  </c:pt>
                  <c:pt idx="5">
                    <c:v>Pos Puro</c:v>
                  </c:pt>
                  <c:pt idx="6">
                    <c:v>Churn Invol</c:v>
                  </c:pt>
                  <c:pt idx="7">
                    <c:v>Pos Puro</c:v>
                  </c:pt>
                  <c:pt idx="8">
                    <c:v>Churn Invol</c:v>
                  </c:pt>
                  <c:pt idx="9">
                    <c:v>Pos Puro</c:v>
                  </c:pt>
                </c:lvl>
                <c:lvl>
                  <c:pt idx="0">
                    <c:v>set/22</c:v>
                  </c:pt>
                  <c:pt idx="2">
                    <c:v>out/22</c:v>
                  </c:pt>
                  <c:pt idx="4">
                    <c:v>nov/22</c:v>
                  </c:pt>
                  <c:pt idx="6">
                    <c:v>dez/22</c:v>
                  </c:pt>
                  <c:pt idx="8">
                    <c:v>jan/23</c:v>
                  </c:pt>
                </c:lvl>
              </c:multiLvlStrCache>
            </c:multiLvlStrRef>
          </c:cat>
          <c:val>
            <c:numRef>
              <c:f>Graficos!$E$14:$E$23</c:f>
              <c:numCache>
                <c:formatCode>0.0%</c:formatCode>
                <c:ptCount val="10"/>
                <c:pt idx="0">
                  <c:v>0.19407008086253369</c:v>
                </c:pt>
                <c:pt idx="1">
                  <c:v>0.222472170686456</c:v>
                </c:pt>
                <c:pt idx="2">
                  <c:v>0.15398230088495576</c:v>
                </c:pt>
                <c:pt idx="3">
                  <c:v>0.21264259981987299</c:v>
                </c:pt>
                <c:pt idx="4">
                  <c:v>0.1588235294117647</c:v>
                </c:pt>
                <c:pt idx="5">
                  <c:v>0.18367865768399599</c:v>
                </c:pt>
                <c:pt idx="6">
                  <c:v>0.14864864864864866</c:v>
                </c:pt>
                <c:pt idx="7">
                  <c:v>0.17142038833033699</c:v>
                </c:pt>
                <c:pt idx="8">
                  <c:v>0.15</c:v>
                </c:pt>
                <c:pt idx="9">
                  <c:v>0.18232956641292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211-4631-B162-677226739267}"/>
            </c:ext>
          </c:extLst>
        </c:ser>
        <c:ser>
          <c:idx val="3"/>
          <c:order val="3"/>
          <c:tx>
            <c:strRef>
              <c:f>Graficos!$F$13</c:f>
              <c:strCache>
                <c:ptCount val="1"/>
                <c:pt idx="0">
                  <c:v>Parcelamento Fatura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multiLvlStrRef>
              <c:f>Graficos!$A$14:$B$23</c:f>
              <c:multiLvlStrCache>
                <c:ptCount val="10"/>
                <c:lvl>
                  <c:pt idx="0">
                    <c:v>Churn Invol</c:v>
                  </c:pt>
                  <c:pt idx="1">
                    <c:v>Pos Puro</c:v>
                  </c:pt>
                  <c:pt idx="2">
                    <c:v>Churn Invol</c:v>
                  </c:pt>
                  <c:pt idx="3">
                    <c:v>Pos Puro</c:v>
                  </c:pt>
                  <c:pt idx="4">
                    <c:v>Churn Invol</c:v>
                  </c:pt>
                  <c:pt idx="5">
                    <c:v>Pos Puro</c:v>
                  </c:pt>
                  <c:pt idx="6">
                    <c:v>Churn Invol</c:v>
                  </c:pt>
                  <c:pt idx="7">
                    <c:v>Pos Puro</c:v>
                  </c:pt>
                  <c:pt idx="8">
                    <c:v>Churn Invol</c:v>
                  </c:pt>
                  <c:pt idx="9">
                    <c:v>Pos Puro</c:v>
                  </c:pt>
                </c:lvl>
                <c:lvl>
                  <c:pt idx="0">
                    <c:v>set/22</c:v>
                  </c:pt>
                  <c:pt idx="2">
                    <c:v>out/22</c:v>
                  </c:pt>
                  <c:pt idx="4">
                    <c:v>nov/22</c:v>
                  </c:pt>
                  <c:pt idx="6">
                    <c:v>dez/22</c:v>
                  </c:pt>
                  <c:pt idx="8">
                    <c:v>jan/23</c:v>
                  </c:pt>
                </c:lvl>
              </c:multiLvlStrCache>
            </c:multiLvlStrRef>
          </c:cat>
          <c:val>
            <c:numRef>
              <c:f>Graficos!$F$14:$F$23</c:f>
              <c:numCache>
                <c:formatCode>0.0%</c:formatCode>
                <c:ptCount val="10"/>
                <c:pt idx="0">
                  <c:v>0.16711590296495957</c:v>
                </c:pt>
                <c:pt idx="1">
                  <c:v>5.6864564007421098E-2</c:v>
                </c:pt>
                <c:pt idx="2">
                  <c:v>0.13628318584070798</c:v>
                </c:pt>
                <c:pt idx="3">
                  <c:v>5.4919693785649898E-2</c:v>
                </c:pt>
                <c:pt idx="4">
                  <c:v>0.12352941176470589</c:v>
                </c:pt>
                <c:pt idx="5">
                  <c:v>6.1056734884114998E-2</c:v>
                </c:pt>
                <c:pt idx="6">
                  <c:v>0.26576576576576577</c:v>
                </c:pt>
                <c:pt idx="7">
                  <c:v>6.2565429513895696E-2</c:v>
                </c:pt>
                <c:pt idx="8">
                  <c:v>0.32142857142857145</c:v>
                </c:pt>
                <c:pt idx="9">
                  <c:v>5.7090640823580598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5211-4631-B162-677226739267}"/>
            </c:ext>
          </c:extLst>
        </c:ser>
        <c:ser>
          <c:idx val="4"/>
          <c:order val="4"/>
          <c:tx>
            <c:strRef>
              <c:f>Graficos!$G$13</c:f>
              <c:strCache>
                <c:ptCount val="1"/>
                <c:pt idx="0">
                  <c:v>Pagamento em Aberto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multiLvlStrRef>
              <c:f>Graficos!$A$14:$B$23</c:f>
              <c:multiLvlStrCache>
                <c:ptCount val="10"/>
                <c:lvl>
                  <c:pt idx="0">
                    <c:v>Churn Invol</c:v>
                  </c:pt>
                  <c:pt idx="1">
                    <c:v>Pos Puro</c:v>
                  </c:pt>
                  <c:pt idx="2">
                    <c:v>Churn Invol</c:v>
                  </c:pt>
                  <c:pt idx="3">
                    <c:v>Pos Puro</c:v>
                  </c:pt>
                  <c:pt idx="4">
                    <c:v>Churn Invol</c:v>
                  </c:pt>
                  <c:pt idx="5">
                    <c:v>Pos Puro</c:v>
                  </c:pt>
                  <c:pt idx="6">
                    <c:v>Churn Invol</c:v>
                  </c:pt>
                  <c:pt idx="7">
                    <c:v>Pos Puro</c:v>
                  </c:pt>
                  <c:pt idx="8">
                    <c:v>Churn Invol</c:v>
                  </c:pt>
                  <c:pt idx="9">
                    <c:v>Pos Puro</c:v>
                  </c:pt>
                </c:lvl>
                <c:lvl>
                  <c:pt idx="0">
                    <c:v>set/22</c:v>
                  </c:pt>
                  <c:pt idx="2">
                    <c:v>out/22</c:v>
                  </c:pt>
                  <c:pt idx="4">
                    <c:v>nov/22</c:v>
                  </c:pt>
                  <c:pt idx="6">
                    <c:v>dez/22</c:v>
                  </c:pt>
                  <c:pt idx="8">
                    <c:v>jan/23</c:v>
                  </c:pt>
                </c:lvl>
              </c:multiLvlStrCache>
            </c:multiLvlStrRef>
          </c:cat>
          <c:val>
            <c:numRef>
              <c:f>Graficos!$G$14:$G$23</c:f>
              <c:numCache>
                <c:formatCode>0.0%</c:formatCode>
                <c:ptCount val="10"/>
                <c:pt idx="0">
                  <c:v>4.8517520215633422E-2</c:v>
                </c:pt>
                <c:pt idx="1">
                  <c:v>3.6317254174396997E-2</c:v>
                </c:pt>
                <c:pt idx="2">
                  <c:v>7.9646017699115043E-2</c:v>
                </c:pt>
                <c:pt idx="3">
                  <c:v>7.3119933953767605E-2</c:v>
                </c:pt>
                <c:pt idx="4">
                  <c:v>8.2352941176470587E-2</c:v>
                </c:pt>
                <c:pt idx="5">
                  <c:v>7.4869708910639293E-2</c:v>
                </c:pt>
                <c:pt idx="6">
                  <c:v>0.13513513513513514</c:v>
                </c:pt>
                <c:pt idx="7">
                  <c:v>7.4406937009895896E-2</c:v>
                </c:pt>
                <c:pt idx="8">
                  <c:v>0.11071428571428571</c:v>
                </c:pt>
                <c:pt idx="9">
                  <c:v>7.3245364005231198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5211-4631-B162-677226739267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2070520336"/>
        <c:axId val="2070519088"/>
      </c:barChart>
      <c:catAx>
        <c:axId val="207052033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2070519088"/>
        <c:crosses val="autoZero"/>
        <c:auto val="1"/>
        <c:lblAlgn val="ctr"/>
        <c:lblOffset val="100"/>
        <c:noMultiLvlLbl val="0"/>
      </c:catAx>
      <c:valAx>
        <c:axId val="2070519088"/>
        <c:scaling>
          <c:orientation val="minMax"/>
        </c:scaling>
        <c:delete val="1"/>
        <c:axPos val="l"/>
        <c:numFmt formatCode="0.0%" sourceLinked="1"/>
        <c:majorTickMark val="none"/>
        <c:minorTickMark val="none"/>
        <c:tickLblPos val="nextTo"/>
        <c:crossAx val="207052033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l"/>
      <c:layout>
        <c:manualLayout>
          <c:xMode val="edge"/>
          <c:yMode val="edge"/>
          <c:x val="8.1526002429603266E-3"/>
          <c:y val="0.28376692938526749"/>
          <c:w val="0.12238991614505006"/>
          <c:h val="0.62594276708422725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pt-BR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rgbClr val="0000F4"/>
                </a:solidFill>
                <a:latin typeface="TIM Sans" panose="00000500000000000000"/>
                <a:ea typeface="+mn-ea"/>
                <a:cs typeface="+mn-cs"/>
              </a:defRPr>
            </a:pPr>
            <a:r>
              <a:rPr lang="pt-BR">
                <a:solidFill>
                  <a:srgbClr val="0000F4"/>
                </a:solidFill>
                <a:latin typeface="TIM Sans" panose="00000500000000000000"/>
              </a:rPr>
              <a:t>Pos</a:t>
            </a:r>
            <a:r>
              <a:rPr lang="pt-BR" baseline="0">
                <a:solidFill>
                  <a:srgbClr val="0000F4"/>
                </a:solidFill>
                <a:latin typeface="TIM Sans" panose="00000500000000000000"/>
              </a:rPr>
              <a:t> Puro x Churn Involuntário</a:t>
            </a:r>
            <a:endParaRPr lang="pt-BR">
              <a:solidFill>
                <a:srgbClr val="0000F4"/>
              </a:solidFill>
              <a:latin typeface="TIM Sans" panose="00000500000000000000"/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rgbClr val="0000F4"/>
              </a:solidFill>
              <a:latin typeface="TIM Sans" panose="00000500000000000000"/>
              <a:ea typeface="+mn-ea"/>
              <a:cs typeface="+mn-cs"/>
            </a:defRPr>
          </a:pPr>
          <a:endParaRPr lang="pt-BR"/>
        </a:p>
      </c:tx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Graficos!$C$27</c:f>
              <c:strCache>
                <c:ptCount val="1"/>
                <c:pt idx="0">
                  <c:v>Induzir ligar novamente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multiLvlStrRef>
              <c:f>Graficos!$A$28:$B$37</c:f>
              <c:multiLvlStrCache>
                <c:ptCount val="10"/>
                <c:lvl>
                  <c:pt idx="0">
                    <c:v>Churn Invol</c:v>
                  </c:pt>
                  <c:pt idx="1">
                    <c:v>Pos Puro</c:v>
                  </c:pt>
                  <c:pt idx="2">
                    <c:v>Churn Invol</c:v>
                  </c:pt>
                  <c:pt idx="3">
                    <c:v>Pos Puro</c:v>
                  </c:pt>
                  <c:pt idx="4">
                    <c:v>Churn Invol</c:v>
                  </c:pt>
                  <c:pt idx="5">
                    <c:v>Pos Puro</c:v>
                  </c:pt>
                  <c:pt idx="6">
                    <c:v>Churn Invol</c:v>
                  </c:pt>
                  <c:pt idx="7">
                    <c:v>Pos Puro</c:v>
                  </c:pt>
                  <c:pt idx="8">
                    <c:v>Churn Invol</c:v>
                  </c:pt>
                  <c:pt idx="9">
                    <c:v>Pos Puro</c:v>
                  </c:pt>
                </c:lvl>
                <c:lvl>
                  <c:pt idx="0">
                    <c:v>set/22</c:v>
                  </c:pt>
                  <c:pt idx="2">
                    <c:v>out/22</c:v>
                  </c:pt>
                  <c:pt idx="4">
                    <c:v>nov/22</c:v>
                  </c:pt>
                  <c:pt idx="6">
                    <c:v>dez/22</c:v>
                  </c:pt>
                  <c:pt idx="8">
                    <c:v>jan/23</c:v>
                  </c:pt>
                </c:lvl>
              </c:multiLvlStrCache>
            </c:multiLvlStrRef>
          </c:cat>
          <c:val>
            <c:numRef>
              <c:f>Graficos!$C$28:$C$37</c:f>
              <c:numCache>
                <c:formatCode>0%</c:formatCode>
                <c:ptCount val="10"/>
                <c:pt idx="0">
                  <c:v>4.5822102425876012E-2</c:v>
                </c:pt>
                <c:pt idx="1">
                  <c:v>4.3999999999999997E-2</c:v>
                </c:pt>
                <c:pt idx="2">
                  <c:v>7.0796460176991149E-2</c:v>
                </c:pt>
                <c:pt idx="3">
                  <c:v>6.9000000000000006E-2</c:v>
                </c:pt>
                <c:pt idx="4">
                  <c:v>6.7647058823529407E-2</c:v>
                </c:pt>
                <c:pt idx="5">
                  <c:v>7.5999999999999998E-2</c:v>
                </c:pt>
                <c:pt idx="6">
                  <c:v>7.8828828828828829E-2</c:v>
                </c:pt>
                <c:pt idx="7">
                  <c:v>7.5999999999999998E-2</c:v>
                </c:pt>
                <c:pt idx="8">
                  <c:v>9.6428571428571433E-2</c:v>
                </c:pt>
                <c:pt idx="9">
                  <c:v>0.0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CDD-4922-9752-6A3A6D8646D2}"/>
            </c:ext>
          </c:extLst>
        </c:ser>
        <c:ser>
          <c:idx val="1"/>
          <c:order val="1"/>
          <c:tx>
            <c:strRef>
              <c:f>Graficos!$D$27</c:f>
              <c:strCache>
                <c:ptCount val="1"/>
                <c:pt idx="0">
                  <c:v>Falha no Sistema Tim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multiLvlStrRef>
              <c:f>Graficos!$A$28:$B$37</c:f>
              <c:multiLvlStrCache>
                <c:ptCount val="10"/>
                <c:lvl>
                  <c:pt idx="0">
                    <c:v>Churn Invol</c:v>
                  </c:pt>
                  <c:pt idx="1">
                    <c:v>Pos Puro</c:v>
                  </c:pt>
                  <c:pt idx="2">
                    <c:v>Churn Invol</c:v>
                  </c:pt>
                  <c:pt idx="3">
                    <c:v>Pos Puro</c:v>
                  </c:pt>
                  <c:pt idx="4">
                    <c:v>Churn Invol</c:v>
                  </c:pt>
                  <c:pt idx="5">
                    <c:v>Pos Puro</c:v>
                  </c:pt>
                  <c:pt idx="6">
                    <c:v>Churn Invol</c:v>
                  </c:pt>
                  <c:pt idx="7">
                    <c:v>Pos Puro</c:v>
                  </c:pt>
                  <c:pt idx="8">
                    <c:v>Churn Invol</c:v>
                  </c:pt>
                  <c:pt idx="9">
                    <c:v>Pos Puro</c:v>
                  </c:pt>
                </c:lvl>
                <c:lvl>
                  <c:pt idx="0">
                    <c:v>set/22</c:v>
                  </c:pt>
                  <c:pt idx="2">
                    <c:v>out/22</c:v>
                  </c:pt>
                  <c:pt idx="4">
                    <c:v>nov/22</c:v>
                  </c:pt>
                  <c:pt idx="6">
                    <c:v>dez/22</c:v>
                  </c:pt>
                  <c:pt idx="8">
                    <c:v>jan/23</c:v>
                  </c:pt>
                </c:lvl>
              </c:multiLvlStrCache>
            </c:multiLvlStrRef>
          </c:cat>
          <c:val>
            <c:numRef>
              <c:f>Graficos!$D$28:$D$37</c:f>
              <c:numCache>
                <c:formatCode>0%</c:formatCode>
                <c:ptCount val="10"/>
                <c:pt idx="0">
                  <c:v>5.6603773584905662E-2</c:v>
                </c:pt>
                <c:pt idx="1">
                  <c:v>5.6000000000000001E-2</c:v>
                </c:pt>
                <c:pt idx="2">
                  <c:v>7.2566371681415928E-2</c:v>
                </c:pt>
                <c:pt idx="3">
                  <c:v>5.3999999999999999E-2</c:v>
                </c:pt>
                <c:pt idx="4">
                  <c:v>5.8823529411764705E-2</c:v>
                </c:pt>
                <c:pt idx="5">
                  <c:v>4.9000000000000002E-2</c:v>
                </c:pt>
                <c:pt idx="6">
                  <c:v>6.3063063063063057E-2</c:v>
                </c:pt>
                <c:pt idx="7">
                  <c:v>7.5999999999999998E-2</c:v>
                </c:pt>
                <c:pt idx="8">
                  <c:v>9.6428571428571433E-2</c:v>
                </c:pt>
                <c:pt idx="9">
                  <c:v>4.9000000000000002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CDD-4922-9752-6A3A6D8646D2}"/>
            </c:ext>
          </c:extLst>
        </c:ser>
        <c:ser>
          <c:idx val="2"/>
          <c:order val="2"/>
          <c:tx>
            <c:strRef>
              <c:f>Graficos!$E$27</c:f>
              <c:strCache>
                <c:ptCount val="1"/>
                <c:pt idx="0">
                  <c:v>Cliente Rechamante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multiLvlStrRef>
              <c:f>Graficos!$A$28:$B$37</c:f>
              <c:multiLvlStrCache>
                <c:ptCount val="10"/>
                <c:lvl>
                  <c:pt idx="0">
                    <c:v>Churn Invol</c:v>
                  </c:pt>
                  <c:pt idx="1">
                    <c:v>Pos Puro</c:v>
                  </c:pt>
                  <c:pt idx="2">
                    <c:v>Churn Invol</c:v>
                  </c:pt>
                  <c:pt idx="3">
                    <c:v>Pos Puro</c:v>
                  </c:pt>
                  <c:pt idx="4">
                    <c:v>Churn Invol</c:v>
                  </c:pt>
                  <c:pt idx="5">
                    <c:v>Pos Puro</c:v>
                  </c:pt>
                  <c:pt idx="6">
                    <c:v>Churn Invol</c:v>
                  </c:pt>
                  <c:pt idx="7">
                    <c:v>Pos Puro</c:v>
                  </c:pt>
                  <c:pt idx="8">
                    <c:v>Churn Invol</c:v>
                  </c:pt>
                  <c:pt idx="9">
                    <c:v>Pos Puro</c:v>
                  </c:pt>
                </c:lvl>
                <c:lvl>
                  <c:pt idx="0">
                    <c:v>set/22</c:v>
                  </c:pt>
                  <c:pt idx="2">
                    <c:v>out/22</c:v>
                  </c:pt>
                  <c:pt idx="4">
                    <c:v>nov/22</c:v>
                  </c:pt>
                  <c:pt idx="6">
                    <c:v>dez/22</c:v>
                  </c:pt>
                  <c:pt idx="8">
                    <c:v>jan/23</c:v>
                  </c:pt>
                </c:lvl>
              </c:multiLvlStrCache>
            </c:multiLvlStrRef>
          </c:cat>
          <c:val>
            <c:numRef>
              <c:f>Graficos!$E$28:$E$37</c:f>
              <c:numCache>
                <c:formatCode>0%</c:formatCode>
                <c:ptCount val="10"/>
                <c:pt idx="0">
                  <c:v>8.3557951482479784E-2</c:v>
                </c:pt>
                <c:pt idx="1">
                  <c:v>7.0999999999999994E-2</c:v>
                </c:pt>
                <c:pt idx="2">
                  <c:v>5.663716814159292E-2</c:v>
                </c:pt>
                <c:pt idx="3">
                  <c:v>6.7000000000000004E-2</c:v>
                </c:pt>
                <c:pt idx="4">
                  <c:v>7.9411764705882348E-2</c:v>
                </c:pt>
                <c:pt idx="5">
                  <c:v>6.8000000000000005E-2</c:v>
                </c:pt>
                <c:pt idx="6">
                  <c:v>9.45945945945946E-2</c:v>
                </c:pt>
                <c:pt idx="7">
                  <c:v>7.9000000000000001E-2</c:v>
                </c:pt>
                <c:pt idx="8">
                  <c:v>9.285714285714286E-2</c:v>
                </c:pt>
                <c:pt idx="9">
                  <c:v>8.4000000000000005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CDD-4922-9752-6A3A6D8646D2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299200768"/>
        <c:axId val="299204512"/>
      </c:barChart>
      <c:catAx>
        <c:axId val="29920076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299204512"/>
        <c:crosses val="autoZero"/>
        <c:auto val="1"/>
        <c:lblAlgn val="ctr"/>
        <c:lblOffset val="100"/>
        <c:noMultiLvlLbl val="0"/>
      </c:catAx>
      <c:valAx>
        <c:axId val="299204512"/>
        <c:scaling>
          <c:orientation val="minMax"/>
        </c:scaling>
        <c:delete val="1"/>
        <c:axPos val="l"/>
        <c:numFmt formatCode="0%" sourceLinked="1"/>
        <c:majorTickMark val="none"/>
        <c:minorTickMark val="none"/>
        <c:tickLblPos val="nextTo"/>
        <c:crossAx val="29920076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l"/>
      <c:layout>
        <c:manualLayout>
          <c:xMode val="edge"/>
          <c:yMode val="edge"/>
          <c:x val="1.8241303324800704E-2"/>
          <c:y val="0.33399312082843952"/>
          <c:w val="0.16373547942636912"/>
          <c:h val="0.54286928839305115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pt-BR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DC63B15-22E2-4BE4-BA5F-696B567E3E05}" type="datetimeFigureOut">
              <a:rPr lang="pt-BR" smtClean="0"/>
              <a:t>20/04/2023</a:t>
            </a:fld>
            <a:endParaRPr lang="pt-BR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t-B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C179171-3382-4534-B3AA-B4860472D4CB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73857511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15B3E8-50D5-4883-B9F4-32ACB6858BF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pt-BR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4050709-A480-40D3-B8D3-BAB9A708354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pt-BR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1EE5E6B-E17F-4873-8992-78E51979FA5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4CD205-6D29-4C6F-93E9-9396C2035537}" type="datetimeFigureOut">
              <a:rPr lang="pt-BR" smtClean="0"/>
              <a:t>20/04/2023</a:t>
            </a:fld>
            <a:endParaRPr lang="pt-BR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30A7A38-20FA-4BD4-9596-5C0BA15162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1E1091B-3291-44FD-AAFE-E8086E0301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FDE1F3-EC66-4D0B-B38F-BBBBE7E3DE8E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79325953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75D64B7-0CC3-4C86-8875-53BA0D5B80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pt-BR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BA206E3D-1B77-4D1C-9DD8-BAA2E15F459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t-BR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9A507F1-CC78-4489-BE88-AE04C25E3C4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4CD205-6D29-4C6F-93E9-9396C2035537}" type="datetimeFigureOut">
              <a:rPr lang="pt-BR" smtClean="0"/>
              <a:t>20/04/2023</a:t>
            </a:fld>
            <a:endParaRPr lang="pt-BR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E5AE44-594D-42C8-9629-4F5D8F6253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7DA15EA-33FB-4803-B335-A3AFD6EEA4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FDE1F3-EC66-4D0B-B38F-BBBBE7E3DE8E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66522905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5C641116-E4BE-4FBF-A4B1-FD39E01B0B5C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pt-BR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746EABD1-5031-4FC3-BB20-903BBDBADC4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t-BR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F440738-8AD9-4841-A4C0-EA7EEB31FBA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4CD205-6D29-4C6F-93E9-9396C2035537}" type="datetimeFigureOut">
              <a:rPr lang="pt-BR" smtClean="0"/>
              <a:t>20/04/2023</a:t>
            </a:fld>
            <a:endParaRPr lang="pt-BR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E46A3DC-EFAF-47B1-A356-4CF846046D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E9717BF-34B7-489A-98BA-F1D1A45A73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FDE1F3-EC66-4D0B-B38F-BBBBE7E3DE8E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52996323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>
            <a:extLst>
              <a:ext uri="{FF2B5EF4-FFF2-40B4-BE49-F238E27FC236}">
                <a16:creationId xmlns:a16="http://schemas.microsoft.com/office/drawing/2014/main" id="{6DE52620-8B6A-7842-9D36-07843444F20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8" name="Text Placeholder 25">
            <a:extLst>
              <a:ext uri="{FF2B5EF4-FFF2-40B4-BE49-F238E27FC236}">
                <a16:creationId xmlns:a16="http://schemas.microsoft.com/office/drawing/2014/main" id="{00EA594D-92C0-254C-B2AD-BA16BC6D663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10380" y="3547573"/>
            <a:ext cx="5241009" cy="8094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5100" b="0" i="0">
                <a:solidFill>
                  <a:schemeClr val="bg1"/>
                </a:solidFill>
                <a:latin typeface="TIM Sans Light" pitchFamily="2" charset="77"/>
              </a:defRPr>
            </a:lvl1pPr>
          </a:lstStyle>
          <a:p>
            <a:pPr lvl="0"/>
            <a:r>
              <a:rPr lang="en-US" dirty="0"/>
              <a:t>TEMA | PROJETO</a:t>
            </a:r>
            <a:endParaRPr lang="pt-BR" dirty="0"/>
          </a:p>
        </p:txBody>
      </p:sp>
      <p:sp>
        <p:nvSpPr>
          <p:cNvPr id="19" name="Text Placeholder 25">
            <a:extLst>
              <a:ext uri="{FF2B5EF4-FFF2-40B4-BE49-F238E27FC236}">
                <a16:creationId xmlns:a16="http://schemas.microsoft.com/office/drawing/2014/main" id="{4B696BD4-91BF-F04D-934A-F39F06C8FF2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10380" y="4488257"/>
            <a:ext cx="5241009" cy="242240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400"/>
              </a:spcBef>
              <a:buNone/>
              <a:defRPr sz="1400" b="0" i="0">
                <a:solidFill>
                  <a:schemeClr val="bg1"/>
                </a:solidFill>
                <a:latin typeface="TIM Sans" pitchFamily="2" charset="77"/>
              </a:defRPr>
            </a:lvl1pPr>
          </a:lstStyle>
          <a:p>
            <a:pPr lvl="0"/>
            <a:r>
              <a:rPr lang="pt-BR" noProof="0" dirty="0"/>
              <a:t>Data:</a:t>
            </a:r>
          </a:p>
        </p:txBody>
      </p:sp>
      <p:sp>
        <p:nvSpPr>
          <p:cNvPr id="20" name="Text Placeholder 25">
            <a:extLst>
              <a:ext uri="{FF2B5EF4-FFF2-40B4-BE49-F238E27FC236}">
                <a16:creationId xmlns:a16="http://schemas.microsoft.com/office/drawing/2014/main" id="{90976988-E4AC-A445-B892-75080217EC1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10380" y="4744289"/>
            <a:ext cx="5241009" cy="242240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400"/>
              </a:spcBef>
              <a:buNone/>
              <a:defRPr sz="1400" b="0" i="0">
                <a:solidFill>
                  <a:schemeClr val="bg1"/>
                </a:solidFill>
                <a:latin typeface="TIM Sans" pitchFamily="2" charset="77"/>
              </a:defRPr>
            </a:lvl1pPr>
          </a:lstStyle>
          <a:p>
            <a:pPr lvl="0"/>
            <a:r>
              <a:rPr lang="pt-BR" noProof="0" dirty="0"/>
              <a:t>Área:</a:t>
            </a:r>
          </a:p>
        </p:txBody>
      </p:sp>
      <p:sp>
        <p:nvSpPr>
          <p:cNvPr id="21" name="Text Placeholder 25">
            <a:extLst>
              <a:ext uri="{FF2B5EF4-FFF2-40B4-BE49-F238E27FC236}">
                <a16:creationId xmlns:a16="http://schemas.microsoft.com/office/drawing/2014/main" id="{174EF55F-87AF-1746-9E4F-2FB30377489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10380" y="4963745"/>
            <a:ext cx="5241009" cy="242240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400"/>
              </a:spcBef>
              <a:buNone/>
              <a:defRPr sz="1400" b="0" i="0">
                <a:solidFill>
                  <a:schemeClr val="bg1"/>
                </a:solidFill>
                <a:latin typeface="TIM Sans" pitchFamily="2" charset="77"/>
              </a:defRPr>
            </a:lvl1pPr>
          </a:lstStyle>
          <a:p>
            <a:pPr lvl="0"/>
            <a:r>
              <a:rPr lang="pt-BR" noProof="0" dirty="0"/>
              <a:t>Diretoria:</a:t>
            </a:r>
          </a:p>
        </p:txBody>
      </p:sp>
    </p:spTree>
    <p:extLst>
      <p:ext uri="{BB962C8B-B14F-4D97-AF65-F5344CB8AC3E}">
        <p14:creationId xmlns:p14="http://schemas.microsoft.com/office/powerpoint/2010/main" val="111270151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>
            <a:extLst>
              <a:ext uri="{FF2B5EF4-FFF2-40B4-BE49-F238E27FC236}">
                <a16:creationId xmlns:a16="http://schemas.microsoft.com/office/drawing/2014/main" id="{6DE52620-8B6A-7842-9D36-07843444F20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B8251CE7-D523-F64F-AD74-D8FDF07274C4}"/>
              </a:ext>
            </a:extLst>
          </p:cNvPr>
          <p:cNvSpPr txBox="1"/>
          <p:nvPr userDrawn="1"/>
        </p:nvSpPr>
        <p:spPr>
          <a:xfrm>
            <a:off x="6195753" y="3487546"/>
            <a:ext cx="3580546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6000" i="1" dirty="0">
                <a:solidFill>
                  <a:schemeClr val="bg1"/>
                </a:solidFill>
                <a:latin typeface="TIM Sans Thin" pitchFamily="2" charset="77"/>
              </a:rPr>
              <a:t>Obrigado.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7A7B95EE-1598-1C4E-985E-284B2E8F143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490351" y="2126751"/>
            <a:ext cx="4203209" cy="1115137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AC5143AE-8686-472F-B643-BB9300286973}"/>
              </a:ext>
            </a:extLst>
          </p:cNvPr>
          <p:cNvSpPr txBox="1"/>
          <p:nvPr userDrawn="1"/>
        </p:nvSpPr>
        <p:spPr>
          <a:xfrm>
            <a:off x="6284071" y="5726340"/>
            <a:ext cx="4031504" cy="3600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870" b="1" dirty="0">
                <a:solidFill>
                  <a:schemeClr val="bg1"/>
                </a:solidFill>
                <a:latin typeface="TIM Sans Heavy" pitchFamily="2" charset="77"/>
              </a:rPr>
              <a:t>Todos os direitos reservados à TIM Brasil®.</a:t>
            </a:r>
          </a:p>
          <a:p>
            <a:r>
              <a:rPr lang="pt-BR" sz="870" dirty="0">
                <a:solidFill>
                  <a:schemeClr val="bg1"/>
                </a:solidFill>
                <a:latin typeface="TIM Sans Medium" pitchFamily="2" charset="77"/>
              </a:rPr>
              <a:t>O conteúdo desse material só deve ser compartilhado com autorização.</a:t>
            </a:r>
          </a:p>
        </p:txBody>
      </p:sp>
    </p:spTree>
    <p:extLst>
      <p:ext uri="{BB962C8B-B14F-4D97-AF65-F5344CB8AC3E}">
        <p14:creationId xmlns:p14="http://schemas.microsoft.com/office/powerpoint/2010/main" val="336731979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Vertical Text Placeholder 17">
            <a:extLst>
              <a:ext uri="{FF2B5EF4-FFF2-40B4-BE49-F238E27FC236}">
                <a16:creationId xmlns:a16="http://schemas.microsoft.com/office/drawing/2014/main" id="{E4EEA002-2AC8-B441-856D-FCDC535DA685}"/>
              </a:ext>
            </a:extLst>
          </p:cNvPr>
          <p:cNvSpPr>
            <a:spLocks noGrp="1"/>
          </p:cNvSpPr>
          <p:nvPr>
            <p:ph type="body" orient="vert" sz="quarter" idx="12" hasCustomPrompt="1"/>
          </p:nvPr>
        </p:nvSpPr>
        <p:spPr>
          <a:xfrm rot="10800000">
            <a:off x="11747500" y="377769"/>
            <a:ext cx="236576" cy="1019871"/>
          </a:xfrm>
          <a:prstGeom prst="rect">
            <a:avLst/>
          </a:prstGeom>
        </p:spPr>
        <p:txBody>
          <a:bodyPr vert="eaVert"/>
          <a:lstStyle>
            <a:lvl1pPr marL="0" indent="0" algn="r">
              <a:buNone/>
              <a:defRPr sz="800" b="0" i="1">
                <a:solidFill>
                  <a:schemeClr val="bg1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/>
              <a:t>DIA . MÊS . ANO</a:t>
            </a:r>
            <a:endParaRPr lang="pt-BR"/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5975C47E-9CCA-E946-9096-ECD385C54A0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4234" y="1397641"/>
            <a:ext cx="5080266" cy="110490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None/>
              <a:defRPr sz="1400">
                <a:solidFill>
                  <a:srgbClr val="0000FF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m</a:t>
            </a:r>
            <a:r>
              <a:rPr lang="en-US"/>
              <a:t> vel</a:t>
            </a:r>
            <a:endParaRPr lang="pt-BR"/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967F20EB-DD8D-714E-8532-23A60CA62D3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4234" y="377769"/>
            <a:ext cx="6934466" cy="6602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4000" b="1" i="1">
                <a:solidFill>
                  <a:srgbClr val="0000FF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 err="1"/>
              <a:t>Tópico</a:t>
            </a:r>
            <a:endParaRPr lang="pt-BR"/>
          </a:p>
        </p:txBody>
      </p:sp>
      <p:sp>
        <p:nvSpPr>
          <p:cNvPr id="26" name="Slide Number Placeholder 5">
            <a:extLst>
              <a:ext uri="{FF2B5EF4-FFF2-40B4-BE49-F238E27FC236}">
                <a16:creationId xmlns:a16="http://schemas.microsoft.com/office/drawing/2014/main" id="{B07B4285-A328-6C4C-ABED-856436DBFFB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84853" y="6502706"/>
            <a:ext cx="528771" cy="261611"/>
          </a:xfrm>
          <a:prstGeom prst="rect">
            <a:avLst/>
          </a:prstGeom>
        </p:spPr>
        <p:txBody>
          <a:bodyPr/>
          <a:lstStyle>
            <a:lvl1pPr algn="r">
              <a:defRPr sz="1200" b="1" i="0">
                <a:solidFill>
                  <a:schemeClr val="bg1"/>
                </a:solidFill>
                <a:latin typeface="TIM Sans" pitchFamily="2" charset="77"/>
              </a:defRPr>
            </a:lvl1pPr>
          </a:lstStyle>
          <a:p>
            <a:fld id="{2F807B70-6395-8945-99F1-E53109619FCB}" type="slidenum">
              <a:rPr lang="pt-BR" smtClean="0"/>
              <a:pPr/>
              <a:t>‹#›</a:t>
            </a:fld>
            <a:endParaRPr lang="pt-BR"/>
          </a:p>
        </p:txBody>
      </p:sp>
      <p:sp>
        <p:nvSpPr>
          <p:cNvPr id="27" name="Text Placeholder 15">
            <a:extLst>
              <a:ext uri="{FF2B5EF4-FFF2-40B4-BE49-F238E27FC236}">
                <a16:creationId xmlns:a16="http://schemas.microsoft.com/office/drawing/2014/main" id="{A7ECF5C9-86FA-AB42-A93F-2955204E8B4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4234" y="4564063"/>
            <a:ext cx="2120628" cy="12001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50" b="0" i="0">
                <a:solidFill>
                  <a:schemeClr val="bg1"/>
                </a:solidFill>
                <a:latin typeface="TIM Sans Medium" pitchFamily="2" charset="77"/>
              </a:defRPr>
            </a:lvl1pPr>
          </a:lstStyle>
          <a:p>
            <a:pPr lvl="0"/>
            <a:r>
              <a:rPr lang="en-US"/>
              <a:t>LEGENDA</a:t>
            </a:r>
            <a:br>
              <a:rPr lang="en-US"/>
            </a:br>
            <a:r>
              <a:rPr lang="en-US" err="1"/>
              <a:t>Texto</a:t>
            </a:r>
            <a:r>
              <a:rPr lang="en-US"/>
              <a:t> de legenda para </a:t>
            </a:r>
            <a:r>
              <a:rPr lang="en-US" err="1"/>
              <a:t>gráficos</a:t>
            </a:r>
            <a:r>
              <a:rPr lang="en-US"/>
              <a:t>.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48468782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Vertical Text Placeholder 17">
            <a:extLst>
              <a:ext uri="{FF2B5EF4-FFF2-40B4-BE49-F238E27FC236}">
                <a16:creationId xmlns:a16="http://schemas.microsoft.com/office/drawing/2014/main" id="{E4EEA002-2AC8-B441-856D-FCDC535DA685}"/>
              </a:ext>
            </a:extLst>
          </p:cNvPr>
          <p:cNvSpPr>
            <a:spLocks noGrp="1"/>
          </p:cNvSpPr>
          <p:nvPr>
            <p:ph type="body" orient="vert" sz="quarter" idx="12" hasCustomPrompt="1"/>
          </p:nvPr>
        </p:nvSpPr>
        <p:spPr>
          <a:xfrm rot="10800000">
            <a:off x="11747500" y="377769"/>
            <a:ext cx="236576" cy="1019871"/>
          </a:xfrm>
          <a:prstGeom prst="rect">
            <a:avLst/>
          </a:prstGeom>
        </p:spPr>
        <p:txBody>
          <a:bodyPr vert="eaVert"/>
          <a:lstStyle>
            <a:lvl1pPr marL="0" indent="0" algn="r">
              <a:buNone/>
              <a:defRPr sz="800" b="0" i="1">
                <a:solidFill>
                  <a:schemeClr val="bg1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/>
              <a:t>DIA . MÊS . ANO</a:t>
            </a:r>
            <a:endParaRPr lang="pt-BR"/>
          </a:p>
        </p:txBody>
      </p:sp>
      <p:sp>
        <p:nvSpPr>
          <p:cNvPr id="26" name="Slide Number Placeholder 5">
            <a:extLst>
              <a:ext uri="{FF2B5EF4-FFF2-40B4-BE49-F238E27FC236}">
                <a16:creationId xmlns:a16="http://schemas.microsoft.com/office/drawing/2014/main" id="{B07B4285-A328-6C4C-ABED-856436DBFFB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84853" y="6502706"/>
            <a:ext cx="528771" cy="261611"/>
          </a:xfrm>
          <a:prstGeom prst="rect">
            <a:avLst/>
          </a:prstGeom>
        </p:spPr>
        <p:txBody>
          <a:bodyPr/>
          <a:lstStyle>
            <a:lvl1pPr algn="r">
              <a:defRPr sz="1200" b="1" i="0">
                <a:solidFill>
                  <a:schemeClr val="bg1"/>
                </a:solidFill>
                <a:latin typeface="TIM Sans" pitchFamily="2" charset="77"/>
              </a:defRPr>
            </a:lvl1pPr>
          </a:lstStyle>
          <a:p>
            <a:fld id="{2F807B70-6395-8945-99F1-E53109619FCB}" type="slidenum">
              <a:rPr lang="pt-BR" smtClean="0"/>
              <a:pPr/>
              <a:t>‹#›</a:t>
            </a:fld>
            <a:endParaRPr lang="pt-BR"/>
          </a:p>
        </p:txBody>
      </p:sp>
      <p:sp>
        <p:nvSpPr>
          <p:cNvPr id="27" name="Text Placeholder 15">
            <a:extLst>
              <a:ext uri="{FF2B5EF4-FFF2-40B4-BE49-F238E27FC236}">
                <a16:creationId xmlns:a16="http://schemas.microsoft.com/office/drawing/2014/main" id="{A7ECF5C9-86FA-AB42-A93F-2955204E8B4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4234" y="4564063"/>
            <a:ext cx="2120628" cy="12001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50" b="0" i="0">
                <a:solidFill>
                  <a:srgbClr val="3383C6"/>
                </a:solidFill>
                <a:latin typeface="TIM Sans Medium" pitchFamily="2" charset="77"/>
              </a:defRPr>
            </a:lvl1pPr>
          </a:lstStyle>
          <a:p>
            <a:pPr lvl="0"/>
            <a:r>
              <a:rPr lang="en-US"/>
              <a:t>LEGENDA</a:t>
            </a:r>
            <a:br>
              <a:rPr lang="en-US"/>
            </a:br>
            <a:r>
              <a:rPr lang="en-US" err="1"/>
              <a:t>Texto</a:t>
            </a:r>
            <a:r>
              <a:rPr lang="en-US"/>
              <a:t> de legenda para </a:t>
            </a:r>
            <a:r>
              <a:rPr lang="en-US" err="1"/>
              <a:t>gráficos</a:t>
            </a:r>
            <a:r>
              <a:rPr lang="en-US"/>
              <a:t>.</a:t>
            </a:r>
            <a:endParaRPr lang="pt-BR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2810990E-FB56-8E4D-BF59-DFD1603EDF9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4234" y="1397640"/>
            <a:ext cx="4102366" cy="170116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None/>
              <a:defRPr sz="1400">
                <a:solidFill>
                  <a:schemeClr val="bg1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m</a:t>
            </a:r>
            <a:r>
              <a:rPr lang="en-US"/>
              <a:t> vel</a:t>
            </a:r>
            <a:endParaRPr lang="pt-BR"/>
          </a:p>
        </p:txBody>
      </p:sp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8D9AD19F-C8E9-5A49-BCB7-A9B897A2621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4234" y="377769"/>
            <a:ext cx="6934466" cy="6602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4000" b="1" i="1">
                <a:solidFill>
                  <a:schemeClr val="bg1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 err="1"/>
              <a:t>Tópico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00927043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Vertical Text Placeholder 17">
            <a:extLst>
              <a:ext uri="{FF2B5EF4-FFF2-40B4-BE49-F238E27FC236}">
                <a16:creationId xmlns:a16="http://schemas.microsoft.com/office/drawing/2014/main" id="{E4EEA002-2AC8-B441-856D-FCDC535DA685}"/>
              </a:ext>
            </a:extLst>
          </p:cNvPr>
          <p:cNvSpPr>
            <a:spLocks noGrp="1"/>
          </p:cNvSpPr>
          <p:nvPr>
            <p:ph type="body" orient="vert" sz="quarter" idx="12" hasCustomPrompt="1"/>
          </p:nvPr>
        </p:nvSpPr>
        <p:spPr>
          <a:xfrm rot="10800000">
            <a:off x="11747500" y="377769"/>
            <a:ext cx="236576" cy="1019871"/>
          </a:xfrm>
          <a:prstGeom prst="rect">
            <a:avLst/>
          </a:prstGeom>
        </p:spPr>
        <p:txBody>
          <a:bodyPr vert="eaVert"/>
          <a:lstStyle>
            <a:lvl1pPr marL="0" indent="0" algn="r">
              <a:buNone/>
              <a:defRPr sz="800" b="0" i="1">
                <a:solidFill>
                  <a:srgbClr val="0000FF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/>
              <a:t>DIA . MÊS . ANO</a:t>
            </a:r>
            <a:endParaRPr lang="pt-BR"/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5975C47E-9CCA-E946-9096-ECD385C54A0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4234" y="1397640"/>
            <a:ext cx="4305300" cy="1713859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None/>
              <a:defRPr sz="1400">
                <a:solidFill>
                  <a:srgbClr val="0000FF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m</a:t>
            </a:r>
            <a:r>
              <a:rPr lang="en-US"/>
              <a:t> vel</a:t>
            </a:r>
            <a:endParaRPr lang="pt-BR"/>
          </a:p>
        </p:txBody>
      </p:sp>
      <p:sp>
        <p:nvSpPr>
          <p:cNvPr id="26" name="Slide Number Placeholder 5">
            <a:extLst>
              <a:ext uri="{FF2B5EF4-FFF2-40B4-BE49-F238E27FC236}">
                <a16:creationId xmlns:a16="http://schemas.microsoft.com/office/drawing/2014/main" id="{B07B4285-A328-6C4C-ABED-856436DBFFB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84853" y="6502706"/>
            <a:ext cx="528771" cy="261611"/>
          </a:xfrm>
          <a:prstGeom prst="rect">
            <a:avLst/>
          </a:prstGeom>
        </p:spPr>
        <p:txBody>
          <a:bodyPr/>
          <a:lstStyle>
            <a:lvl1pPr algn="r">
              <a:defRPr sz="1200" b="1" i="0">
                <a:solidFill>
                  <a:schemeClr val="bg1"/>
                </a:solidFill>
                <a:latin typeface="TIM Sans" pitchFamily="2" charset="77"/>
              </a:defRPr>
            </a:lvl1pPr>
          </a:lstStyle>
          <a:p>
            <a:fld id="{2F807B70-6395-8945-99F1-E53109619FCB}" type="slidenum">
              <a:rPr lang="pt-BR" smtClean="0"/>
              <a:pPr/>
              <a:t>‹#›</a:t>
            </a:fld>
            <a:endParaRPr lang="pt-BR"/>
          </a:p>
        </p:txBody>
      </p:sp>
      <p:sp>
        <p:nvSpPr>
          <p:cNvPr id="27" name="Text Placeholder 15">
            <a:extLst>
              <a:ext uri="{FF2B5EF4-FFF2-40B4-BE49-F238E27FC236}">
                <a16:creationId xmlns:a16="http://schemas.microsoft.com/office/drawing/2014/main" id="{A7ECF5C9-86FA-AB42-A93F-2955204E8B4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76256" y="4564063"/>
            <a:ext cx="2120628" cy="12001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50" b="0" i="0">
                <a:solidFill>
                  <a:schemeClr val="bg1"/>
                </a:solidFill>
                <a:latin typeface="TIM Sans Medium" pitchFamily="2" charset="77"/>
              </a:defRPr>
            </a:lvl1pPr>
          </a:lstStyle>
          <a:p>
            <a:pPr lvl="0"/>
            <a:r>
              <a:rPr lang="en-US"/>
              <a:t>LEGENDA</a:t>
            </a:r>
            <a:br>
              <a:rPr lang="en-US"/>
            </a:br>
            <a:r>
              <a:rPr lang="en-US" err="1"/>
              <a:t>Texto</a:t>
            </a:r>
            <a:r>
              <a:rPr lang="en-US"/>
              <a:t> de legenda para </a:t>
            </a:r>
            <a:r>
              <a:rPr lang="en-US" err="1"/>
              <a:t>gráficos</a:t>
            </a:r>
            <a:r>
              <a:rPr lang="en-US"/>
              <a:t>.</a:t>
            </a:r>
            <a:endParaRPr lang="pt-BR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D4FA7796-B909-1049-87DF-3F34064B53E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067300" y="1397640"/>
            <a:ext cx="4305300" cy="1713859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None/>
              <a:defRPr sz="1400">
                <a:solidFill>
                  <a:srgbClr val="0000FF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m</a:t>
            </a:r>
            <a:r>
              <a:rPr lang="en-US"/>
              <a:t> vel</a:t>
            </a:r>
            <a:endParaRPr lang="pt-BR"/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AD40A5FA-1E23-3248-9281-F85E727CC5B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4234" y="377769"/>
            <a:ext cx="6934466" cy="6602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4000" b="1" i="1">
                <a:solidFill>
                  <a:srgbClr val="0000FF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 err="1"/>
              <a:t>Tópico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16423142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Vertical Text Placeholder 17">
            <a:extLst>
              <a:ext uri="{FF2B5EF4-FFF2-40B4-BE49-F238E27FC236}">
                <a16:creationId xmlns:a16="http://schemas.microsoft.com/office/drawing/2014/main" id="{E4EEA002-2AC8-B441-856D-FCDC535DA685}"/>
              </a:ext>
            </a:extLst>
          </p:cNvPr>
          <p:cNvSpPr>
            <a:spLocks noGrp="1"/>
          </p:cNvSpPr>
          <p:nvPr>
            <p:ph type="body" orient="vert" sz="quarter" idx="12" hasCustomPrompt="1"/>
          </p:nvPr>
        </p:nvSpPr>
        <p:spPr>
          <a:xfrm rot="10800000">
            <a:off x="11747500" y="377769"/>
            <a:ext cx="236576" cy="1019871"/>
          </a:xfrm>
          <a:prstGeom prst="rect">
            <a:avLst/>
          </a:prstGeom>
        </p:spPr>
        <p:txBody>
          <a:bodyPr vert="eaVert"/>
          <a:lstStyle>
            <a:lvl1pPr marL="0" indent="0" algn="r">
              <a:buNone/>
              <a:defRPr sz="800" b="0" i="1">
                <a:solidFill>
                  <a:schemeClr val="bg1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/>
              <a:t>DIA . MÊS . ANO</a:t>
            </a:r>
            <a:endParaRPr lang="pt-BR"/>
          </a:p>
        </p:txBody>
      </p:sp>
      <p:sp>
        <p:nvSpPr>
          <p:cNvPr id="26" name="Slide Number Placeholder 5">
            <a:extLst>
              <a:ext uri="{FF2B5EF4-FFF2-40B4-BE49-F238E27FC236}">
                <a16:creationId xmlns:a16="http://schemas.microsoft.com/office/drawing/2014/main" id="{B07B4285-A328-6C4C-ABED-856436DBFFB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84853" y="6502706"/>
            <a:ext cx="528771" cy="261611"/>
          </a:xfrm>
          <a:prstGeom prst="rect">
            <a:avLst/>
          </a:prstGeom>
        </p:spPr>
        <p:txBody>
          <a:bodyPr/>
          <a:lstStyle>
            <a:lvl1pPr algn="r">
              <a:defRPr sz="1200" b="1" i="0">
                <a:solidFill>
                  <a:srgbClr val="0000FF"/>
                </a:solidFill>
                <a:latin typeface="TIM Sans" pitchFamily="2" charset="77"/>
              </a:defRPr>
            </a:lvl1pPr>
          </a:lstStyle>
          <a:p>
            <a:fld id="{2F807B70-6395-8945-99F1-E53109619FCB}" type="slidenum">
              <a:rPr lang="pt-BR" smtClean="0"/>
              <a:pPr/>
              <a:t>‹#›</a:t>
            </a:fld>
            <a:endParaRPr lang="pt-BR"/>
          </a:p>
        </p:txBody>
      </p:sp>
      <p:sp>
        <p:nvSpPr>
          <p:cNvPr id="27" name="Text Placeholder 15">
            <a:extLst>
              <a:ext uri="{FF2B5EF4-FFF2-40B4-BE49-F238E27FC236}">
                <a16:creationId xmlns:a16="http://schemas.microsoft.com/office/drawing/2014/main" id="{A7ECF5C9-86FA-AB42-A93F-2955204E8B4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067672" y="1371599"/>
            <a:ext cx="1537425" cy="10772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50" b="0" i="0">
                <a:solidFill>
                  <a:schemeClr val="bg1"/>
                </a:solidFill>
                <a:latin typeface="TIM Sans Medium" pitchFamily="2" charset="77"/>
              </a:defRPr>
            </a:lvl1pPr>
          </a:lstStyle>
          <a:p>
            <a:pPr lvl="0"/>
            <a:r>
              <a:rPr lang="en-US"/>
              <a:t>LEGENDA</a:t>
            </a:r>
            <a:br>
              <a:rPr lang="en-US"/>
            </a:br>
            <a:r>
              <a:rPr lang="en-US" err="1"/>
              <a:t>Texto</a:t>
            </a:r>
            <a:r>
              <a:rPr lang="en-US"/>
              <a:t> de legenda para </a:t>
            </a:r>
            <a:r>
              <a:rPr lang="en-US" err="1"/>
              <a:t>gráficos</a:t>
            </a:r>
            <a:r>
              <a:rPr lang="en-US"/>
              <a:t>.</a:t>
            </a:r>
            <a:endParaRPr lang="pt-BR"/>
          </a:p>
        </p:txBody>
      </p:sp>
      <p:sp>
        <p:nvSpPr>
          <p:cNvPr id="10" name="Text Placeholder 15">
            <a:extLst>
              <a:ext uri="{FF2B5EF4-FFF2-40B4-BE49-F238E27FC236}">
                <a16:creationId xmlns:a16="http://schemas.microsoft.com/office/drawing/2014/main" id="{C34C6B73-C8B1-0141-B641-A02544EA9C4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0067672" y="3517899"/>
            <a:ext cx="1537425" cy="10772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50" b="0" i="0">
                <a:solidFill>
                  <a:schemeClr val="bg1"/>
                </a:solidFill>
                <a:latin typeface="TIM Sans Medium" pitchFamily="2" charset="77"/>
              </a:defRPr>
            </a:lvl1pPr>
          </a:lstStyle>
          <a:p>
            <a:pPr lvl="0"/>
            <a:r>
              <a:rPr lang="en-US"/>
              <a:t>LEGENDA</a:t>
            </a:r>
            <a:br>
              <a:rPr lang="en-US"/>
            </a:br>
            <a:r>
              <a:rPr lang="en-US" err="1"/>
              <a:t>Texto</a:t>
            </a:r>
            <a:r>
              <a:rPr lang="en-US"/>
              <a:t> de legenda para </a:t>
            </a:r>
            <a:r>
              <a:rPr lang="en-US" err="1"/>
              <a:t>gráficos</a:t>
            </a:r>
            <a:r>
              <a:rPr lang="en-US"/>
              <a:t>.</a:t>
            </a:r>
            <a:endParaRPr lang="pt-BR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18D27EDC-8A74-3F40-847D-503DB2DADDC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4234" y="1397640"/>
            <a:ext cx="6312166" cy="1713859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None/>
              <a:defRPr sz="1400">
                <a:solidFill>
                  <a:srgbClr val="0000FF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m</a:t>
            </a:r>
            <a:r>
              <a:rPr lang="en-US"/>
              <a:t> vel</a:t>
            </a:r>
            <a:endParaRPr lang="pt-BR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1AE4BD30-C052-BB4A-B3C8-64CF9CBF20B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4234" y="377769"/>
            <a:ext cx="6934466" cy="6602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4000" b="1" i="1">
                <a:solidFill>
                  <a:srgbClr val="0000FF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 err="1"/>
              <a:t>Tópico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86761698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Vertical Text Placeholder 17">
            <a:extLst>
              <a:ext uri="{FF2B5EF4-FFF2-40B4-BE49-F238E27FC236}">
                <a16:creationId xmlns:a16="http://schemas.microsoft.com/office/drawing/2014/main" id="{E4EEA002-2AC8-B441-856D-FCDC535DA685}"/>
              </a:ext>
            </a:extLst>
          </p:cNvPr>
          <p:cNvSpPr>
            <a:spLocks noGrp="1"/>
          </p:cNvSpPr>
          <p:nvPr>
            <p:ph type="body" orient="vert" sz="quarter" idx="12" hasCustomPrompt="1"/>
          </p:nvPr>
        </p:nvSpPr>
        <p:spPr>
          <a:xfrm rot="10800000">
            <a:off x="11747500" y="377769"/>
            <a:ext cx="236576" cy="1019871"/>
          </a:xfrm>
          <a:prstGeom prst="rect">
            <a:avLst/>
          </a:prstGeom>
        </p:spPr>
        <p:txBody>
          <a:bodyPr vert="eaVert"/>
          <a:lstStyle>
            <a:lvl1pPr marL="0" indent="0" algn="r">
              <a:buNone/>
              <a:defRPr sz="800" b="0" i="1">
                <a:solidFill>
                  <a:schemeClr val="bg1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/>
              <a:t>DIA . MÊS . ANO</a:t>
            </a:r>
            <a:endParaRPr lang="pt-BR"/>
          </a:p>
        </p:txBody>
      </p:sp>
      <p:sp>
        <p:nvSpPr>
          <p:cNvPr id="26" name="Slide Number Placeholder 5">
            <a:extLst>
              <a:ext uri="{FF2B5EF4-FFF2-40B4-BE49-F238E27FC236}">
                <a16:creationId xmlns:a16="http://schemas.microsoft.com/office/drawing/2014/main" id="{B07B4285-A328-6C4C-ABED-856436DBFFB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84853" y="6502706"/>
            <a:ext cx="528771" cy="261611"/>
          </a:xfrm>
          <a:prstGeom prst="rect">
            <a:avLst/>
          </a:prstGeom>
        </p:spPr>
        <p:txBody>
          <a:bodyPr/>
          <a:lstStyle>
            <a:lvl1pPr algn="r">
              <a:defRPr sz="1200" b="1" i="0">
                <a:solidFill>
                  <a:schemeClr val="bg1"/>
                </a:solidFill>
                <a:latin typeface="TIM Sans" pitchFamily="2" charset="77"/>
              </a:defRPr>
            </a:lvl1pPr>
          </a:lstStyle>
          <a:p>
            <a:fld id="{2F807B70-6395-8945-99F1-E53109619FCB}" type="slidenum">
              <a:rPr lang="pt-BR" smtClean="0"/>
              <a:pPr/>
              <a:t>‹#›</a:t>
            </a:fld>
            <a:endParaRPr lang="pt-BR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7DFE92A0-ABE2-514E-A350-951D998F1C3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4234" y="1397640"/>
            <a:ext cx="4305300" cy="1713859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None/>
              <a:defRPr sz="1400">
                <a:solidFill>
                  <a:schemeClr val="bg1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m</a:t>
            </a:r>
            <a:r>
              <a:rPr lang="en-US"/>
              <a:t> vel</a:t>
            </a:r>
            <a:endParaRPr lang="pt-BR"/>
          </a:p>
        </p:txBody>
      </p:sp>
      <p:sp>
        <p:nvSpPr>
          <p:cNvPr id="9" name="Text Placeholder 15">
            <a:extLst>
              <a:ext uri="{FF2B5EF4-FFF2-40B4-BE49-F238E27FC236}">
                <a16:creationId xmlns:a16="http://schemas.microsoft.com/office/drawing/2014/main" id="{3D690788-A363-8C48-B8AB-65DEFDB253F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76256" y="4564063"/>
            <a:ext cx="2120628" cy="12001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50" b="0" i="0">
                <a:solidFill>
                  <a:schemeClr val="bg1"/>
                </a:solidFill>
                <a:latin typeface="TIM Sans Medium" pitchFamily="2" charset="77"/>
              </a:defRPr>
            </a:lvl1pPr>
          </a:lstStyle>
          <a:p>
            <a:pPr lvl="0"/>
            <a:r>
              <a:rPr lang="en-US"/>
              <a:t>LEGENDA</a:t>
            </a:r>
            <a:br>
              <a:rPr lang="en-US"/>
            </a:br>
            <a:r>
              <a:rPr lang="en-US" err="1"/>
              <a:t>Texto</a:t>
            </a:r>
            <a:r>
              <a:rPr lang="en-US"/>
              <a:t> de legenda para </a:t>
            </a:r>
            <a:r>
              <a:rPr lang="en-US" err="1"/>
              <a:t>gráficos</a:t>
            </a:r>
            <a:r>
              <a:rPr lang="en-US"/>
              <a:t>.</a:t>
            </a:r>
            <a:endParaRPr lang="pt-BR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E29FC56A-9330-A14F-AA33-33D11498B28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067300" y="1397640"/>
            <a:ext cx="4305300" cy="1713859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None/>
              <a:defRPr sz="1400">
                <a:solidFill>
                  <a:schemeClr val="bg1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m</a:t>
            </a:r>
            <a:r>
              <a:rPr lang="en-US"/>
              <a:t> vel</a:t>
            </a:r>
            <a:endParaRPr lang="pt-BR"/>
          </a:p>
        </p:txBody>
      </p:sp>
      <p:sp>
        <p:nvSpPr>
          <p:cNvPr id="11" name="Text Placeholder 5">
            <a:extLst>
              <a:ext uri="{FF2B5EF4-FFF2-40B4-BE49-F238E27FC236}">
                <a16:creationId xmlns:a16="http://schemas.microsoft.com/office/drawing/2014/main" id="{73BCC2F3-C380-4343-936E-8583C38B91C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4234" y="377769"/>
            <a:ext cx="6934466" cy="6602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4000" b="1" i="1">
                <a:solidFill>
                  <a:schemeClr val="bg1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 err="1"/>
              <a:t>Tópico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06134100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Vertical Text Placeholder 17">
            <a:extLst>
              <a:ext uri="{FF2B5EF4-FFF2-40B4-BE49-F238E27FC236}">
                <a16:creationId xmlns:a16="http://schemas.microsoft.com/office/drawing/2014/main" id="{E4EEA002-2AC8-B441-856D-FCDC535DA685}"/>
              </a:ext>
            </a:extLst>
          </p:cNvPr>
          <p:cNvSpPr>
            <a:spLocks noGrp="1"/>
          </p:cNvSpPr>
          <p:nvPr>
            <p:ph type="body" orient="vert" sz="quarter" idx="12" hasCustomPrompt="1"/>
          </p:nvPr>
        </p:nvSpPr>
        <p:spPr>
          <a:xfrm rot="10800000">
            <a:off x="11747500" y="377769"/>
            <a:ext cx="236576" cy="1019871"/>
          </a:xfrm>
          <a:prstGeom prst="rect">
            <a:avLst/>
          </a:prstGeom>
        </p:spPr>
        <p:txBody>
          <a:bodyPr vert="eaVert"/>
          <a:lstStyle>
            <a:lvl1pPr marL="0" indent="0" algn="r">
              <a:buNone/>
              <a:defRPr sz="800" b="0" i="1">
                <a:solidFill>
                  <a:srgbClr val="0000FF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/>
              <a:t>DIA . MÊS . ANO</a:t>
            </a:r>
            <a:endParaRPr lang="pt-BR"/>
          </a:p>
        </p:txBody>
      </p:sp>
      <p:sp>
        <p:nvSpPr>
          <p:cNvPr id="26" name="Slide Number Placeholder 5">
            <a:extLst>
              <a:ext uri="{FF2B5EF4-FFF2-40B4-BE49-F238E27FC236}">
                <a16:creationId xmlns:a16="http://schemas.microsoft.com/office/drawing/2014/main" id="{B07B4285-A328-6C4C-ABED-856436DBFFB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84853" y="6502706"/>
            <a:ext cx="528771" cy="261611"/>
          </a:xfrm>
          <a:prstGeom prst="rect">
            <a:avLst/>
          </a:prstGeom>
        </p:spPr>
        <p:txBody>
          <a:bodyPr/>
          <a:lstStyle>
            <a:lvl1pPr algn="r">
              <a:defRPr sz="1200" b="1" i="0">
                <a:solidFill>
                  <a:srgbClr val="0000FF"/>
                </a:solidFill>
                <a:latin typeface="TIM Sans" pitchFamily="2" charset="77"/>
              </a:defRPr>
            </a:lvl1pPr>
          </a:lstStyle>
          <a:p>
            <a:fld id="{2F807B70-6395-8945-99F1-E53109619FCB}" type="slidenum">
              <a:rPr lang="pt-BR" smtClean="0"/>
              <a:pPr/>
              <a:t>‹#›</a:t>
            </a:fld>
            <a:endParaRPr lang="pt-BR"/>
          </a:p>
        </p:txBody>
      </p:sp>
      <p:sp>
        <p:nvSpPr>
          <p:cNvPr id="5" name="Text Placeholder 5">
            <a:extLst>
              <a:ext uri="{FF2B5EF4-FFF2-40B4-BE49-F238E27FC236}">
                <a16:creationId xmlns:a16="http://schemas.microsoft.com/office/drawing/2014/main" id="{FABB8457-43D4-C44F-920A-6EC87055319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4234" y="377769"/>
            <a:ext cx="6934466" cy="6602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4000" b="1" i="1">
                <a:solidFill>
                  <a:srgbClr val="0000FF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 err="1"/>
              <a:t>Tópico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18116320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B146433-F43C-4229-A686-37C514C32B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pt-BR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1678ABA-3476-4BA9-8C3B-FEF6BC28231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t-BR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CDA78D8-AACB-4B87-B0F3-BFAF1B76EA2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4CD205-6D29-4C6F-93E9-9396C2035537}" type="datetimeFigureOut">
              <a:rPr lang="pt-BR" smtClean="0"/>
              <a:t>20/04/2023</a:t>
            </a:fld>
            <a:endParaRPr lang="pt-BR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645ACDF-7ADE-4680-9A48-D1333576687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AD077D2-9467-4E4B-9759-7955794E6F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FDE1F3-EC66-4D0B-B38F-BBBBE7E3DE8E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66741649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1852170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Text Placeholder 25">
            <a:extLst>
              <a:ext uri="{FF2B5EF4-FFF2-40B4-BE49-F238E27FC236}">
                <a16:creationId xmlns:a16="http://schemas.microsoft.com/office/drawing/2014/main" id="{59B2A80A-0E6D-1747-98B3-C53048B0F65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10380" y="3547573"/>
            <a:ext cx="5241009" cy="8094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5100" b="0" i="0">
                <a:solidFill>
                  <a:srgbClr val="0000FF"/>
                </a:solidFill>
                <a:latin typeface="TIM Sans Light" pitchFamily="2" charset="77"/>
              </a:defRPr>
            </a:lvl1pPr>
          </a:lstStyle>
          <a:p>
            <a:pPr lvl="0"/>
            <a:r>
              <a:rPr lang="en-US"/>
              <a:t>TEMA | PROJETO</a:t>
            </a:r>
            <a:endParaRPr lang="pt-BR"/>
          </a:p>
        </p:txBody>
      </p:sp>
      <p:sp>
        <p:nvSpPr>
          <p:cNvPr id="30" name="Text Placeholder 25">
            <a:extLst>
              <a:ext uri="{FF2B5EF4-FFF2-40B4-BE49-F238E27FC236}">
                <a16:creationId xmlns:a16="http://schemas.microsoft.com/office/drawing/2014/main" id="{F5A93CF7-38E7-F648-9E86-442947B298A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10380" y="4488257"/>
            <a:ext cx="5241009" cy="242240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400"/>
              </a:spcBef>
              <a:buNone/>
              <a:defRPr sz="1400" b="0" i="0">
                <a:solidFill>
                  <a:srgbClr val="0000FF"/>
                </a:solidFill>
                <a:latin typeface="TIM Sans" pitchFamily="2" charset="77"/>
              </a:defRPr>
            </a:lvl1pPr>
          </a:lstStyle>
          <a:p>
            <a:pPr lvl="0"/>
            <a:r>
              <a:rPr lang="pt-BR" noProof="0"/>
              <a:t>Data:</a:t>
            </a:r>
          </a:p>
        </p:txBody>
      </p:sp>
      <p:sp>
        <p:nvSpPr>
          <p:cNvPr id="33" name="Text Placeholder 25">
            <a:extLst>
              <a:ext uri="{FF2B5EF4-FFF2-40B4-BE49-F238E27FC236}">
                <a16:creationId xmlns:a16="http://schemas.microsoft.com/office/drawing/2014/main" id="{0155BA8A-6414-D946-A056-F701E54DD3C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10380" y="4744289"/>
            <a:ext cx="5241009" cy="242240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400"/>
              </a:spcBef>
              <a:buNone/>
              <a:defRPr sz="1400" b="0" i="0">
                <a:solidFill>
                  <a:srgbClr val="0000FF"/>
                </a:solidFill>
                <a:latin typeface="TIM Sans" pitchFamily="2" charset="77"/>
              </a:defRPr>
            </a:lvl1pPr>
          </a:lstStyle>
          <a:p>
            <a:pPr lvl="0"/>
            <a:r>
              <a:rPr lang="pt-BR" noProof="0"/>
              <a:t>Área:</a:t>
            </a:r>
          </a:p>
        </p:txBody>
      </p:sp>
      <p:sp>
        <p:nvSpPr>
          <p:cNvPr id="34" name="Text Placeholder 25">
            <a:extLst>
              <a:ext uri="{FF2B5EF4-FFF2-40B4-BE49-F238E27FC236}">
                <a16:creationId xmlns:a16="http://schemas.microsoft.com/office/drawing/2014/main" id="{4F3AC40D-D90A-1649-87AB-70C2A0BDEBF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10380" y="4963745"/>
            <a:ext cx="5241009" cy="242240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400"/>
              </a:spcBef>
              <a:buNone/>
              <a:defRPr sz="1400" b="0" i="0">
                <a:solidFill>
                  <a:srgbClr val="0000FF"/>
                </a:solidFill>
                <a:latin typeface="TIM Sans" pitchFamily="2" charset="77"/>
              </a:defRPr>
            </a:lvl1pPr>
          </a:lstStyle>
          <a:p>
            <a:pPr lvl="0"/>
            <a:r>
              <a:rPr lang="pt-BR" noProof="0"/>
              <a:t>Diretoria:</a:t>
            </a:r>
          </a:p>
        </p:txBody>
      </p:sp>
    </p:spTree>
    <p:extLst>
      <p:ext uri="{BB962C8B-B14F-4D97-AF65-F5344CB8AC3E}">
        <p14:creationId xmlns:p14="http://schemas.microsoft.com/office/powerpoint/2010/main" val="404615833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0AD274E1-F5A7-2D43-A01C-6A7448D66CD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459405" y="1733550"/>
            <a:ext cx="2627695" cy="3390900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60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2000" b="1" i="1">
                <a:solidFill>
                  <a:srgbClr val="0000FF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/>
              <a:t>00_Tópico</a:t>
            </a:r>
          </a:p>
          <a:p>
            <a:pPr lvl="0"/>
            <a:r>
              <a:rPr lang="en-US"/>
              <a:t>00_Tópico</a:t>
            </a:r>
          </a:p>
          <a:p>
            <a:pPr lvl="0"/>
            <a:r>
              <a:rPr lang="en-US"/>
              <a:t>00_Tópico</a:t>
            </a:r>
          </a:p>
          <a:p>
            <a:pPr lvl="0"/>
            <a:r>
              <a:rPr lang="en-US"/>
              <a:t>00_Tópico</a:t>
            </a:r>
          </a:p>
          <a:p>
            <a:pPr lvl="0"/>
            <a:r>
              <a:rPr lang="en-US"/>
              <a:t>00_Tópico</a:t>
            </a:r>
          </a:p>
          <a:p>
            <a:pPr lvl="0"/>
            <a:r>
              <a:rPr lang="en-US"/>
              <a:t>00_Tópico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4F77488B-FD3C-3442-8F37-4ADDFA6271A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007429" y="414843"/>
            <a:ext cx="515179" cy="431463"/>
          </a:xfrm>
          <a:prstGeom prst="rect">
            <a:avLst/>
          </a:prstGeom>
        </p:spPr>
      </p:pic>
      <p:sp>
        <p:nvSpPr>
          <p:cNvPr id="5" name="Vertical Text Placeholder 17">
            <a:extLst>
              <a:ext uri="{FF2B5EF4-FFF2-40B4-BE49-F238E27FC236}">
                <a16:creationId xmlns:a16="http://schemas.microsoft.com/office/drawing/2014/main" id="{BD478661-D91D-9340-9BEB-87E499CED5B3}"/>
              </a:ext>
            </a:extLst>
          </p:cNvPr>
          <p:cNvSpPr>
            <a:spLocks noGrp="1"/>
          </p:cNvSpPr>
          <p:nvPr>
            <p:ph type="body" orient="vert" sz="quarter" idx="12" hasCustomPrompt="1"/>
          </p:nvPr>
        </p:nvSpPr>
        <p:spPr>
          <a:xfrm rot="10800000">
            <a:off x="11747500" y="377769"/>
            <a:ext cx="236576" cy="1019871"/>
          </a:xfrm>
          <a:prstGeom prst="rect">
            <a:avLst/>
          </a:prstGeom>
        </p:spPr>
        <p:txBody>
          <a:bodyPr vert="eaVert"/>
          <a:lstStyle>
            <a:lvl1pPr marL="0" indent="0" algn="r">
              <a:buNone/>
              <a:defRPr sz="800" b="0" i="1">
                <a:solidFill>
                  <a:srgbClr val="0000FF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/>
              <a:t>DIA . MÊS . ANO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81047959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0">
            <a:extLst>
              <a:ext uri="{FF2B5EF4-FFF2-40B4-BE49-F238E27FC236}">
                <a16:creationId xmlns:a16="http://schemas.microsoft.com/office/drawing/2014/main" id="{09764875-A630-BF4E-8780-5577797064D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243228" y="2409493"/>
            <a:ext cx="7798082" cy="2840525"/>
          </a:xfrm>
          <a:prstGeom prst="rect">
            <a:avLst/>
          </a:prstGeo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19900" b="0" i="1">
                <a:solidFill>
                  <a:srgbClr val="0000FF"/>
                </a:solidFill>
                <a:latin typeface="TIM Sans Thin" pitchFamily="2" charset="77"/>
              </a:defRPr>
            </a:lvl1pPr>
          </a:lstStyle>
          <a:p>
            <a:pPr lvl="0"/>
            <a:r>
              <a:rPr lang="en-US" err="1"/>
              <a:t>Tópico</a:t>
            </a:r>
            <a:endParaRPr lang="pt-BR"/>
          </a:p>
        </p:txBody>
      </p:sp>
      <p:sp>
        <p:nvSpPr>
          <p:cNvPr id="18" name="Text Placeholder 16">
            <a:extLst>
              <a:ext uri="{FF2B5EF4-FFF2-40B4-BE49-F238E27FC236}">
                <a16:creationId xmlns:a16="http://schemas.microsoft.com/office/drawing/2014/main" id="{34DBD7B8-8CBA-3E4A-AE9A-6D9CC4DC655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530957" y="5422130"/>
            <a:ext cx="3991651" cy="954088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None/>
              <a:defRPr sz="1400">
                <a:solidFill>
                  <a:srgbClr val="0000FF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</a:t>
            </a:r>
            <a:endParaRPr lang="pt-BR"/>
          </a:p>
        </p:txBody>
      </p:sp>
      <p:sp>
        <p:nvSpPr>
          <p:cNvPr id="22" name="Vertical Text Placeholder 21">
            <a:extLst>
              <a:ext uri="{FF2B5EF4-FFF2-40B4-BE49-F238E27FC236}">
                <a16:creationId xmlns:a16="http://schemas.microsoft.com/office/drawing/2014/main" id="{1EAD7CD1-AF75-EC45-9FD0-9ADB369D8BD1}"/>
              </a:ext>
            </a:extLst>
          </p:cNvPr>
          <p:cNvSpPr>
            <a:spLocks noGrp="1"/>
          </p:cNvSpPr>
          <p:nvPr>
            <p:ph type="body" orient="vert" sz="quarter" idx="13" hasCustomPrompt="1"/>
          </p:nvPr>
        </p:nvSpPr>
        <p:spPr>
          <a:xfrm rot="10800000">
            <a:off x="1654733" y="4245402"/>
            <a:ext cx="627062" cy="664264"/>
          </a:xfrm>
          <a:prstGeom prst="rect">
            <a:avLst/>
          </a:prstGeom>
        </p:spPr>
        <p:txBody>
          <a:bodyPr vert="eaVert"/>
          <a:lstStyle>
            <a:lvl1pPr marL="0" indent="0" algn="r">
              <a:buNone/>
              <a:defRPr sz="3900" b="1" i="1">
                <a:solidFill>
                  <a:srgbClr val="0000FF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/>
              <a:t>00</a:t>
            </a:r>
            <a:endParaRPr lang="pt-BR"/>
          </a:p>
        </p:txBody>
      </p:sp>
      <p:sp>
        <p:nvSpPr>
          <p:cNvPr id="23" name="Vertical Text Placeholder 21">
            <a:extLst>
              <a:ext uri="{FF2B5EF4-FFF2-40B4-BE49-F238E27FC236}">
                <a16:creationId xmlns:a16="http://schemas.microsoft.com/office/drawing/2014/main" id="{381770EA-68D8-2247-BE59-D12E7412B2C4}"/>
              </a:ext>
            </a:extLst>
          </p:cNvPr>
          <p:cNvSpPr>
            <a:spLocks noGrp="1"/>
          </p:cNvSpPr>
          <p:nvPr>
            <p:ph type="body" orient="vert" sz="quarter" idx="14" hasCustomPrompt="1"/>
          </p:nvPr>
        </p:nvSpPr>
        <p:spPr>
          <a:xfrm rot="10800000">
            <a:off x="1654733" y="2911055"/>
            <a:ext cx="627062" cy="1485020"/>
          </a:xfrm>
          <a:prstGeom prst="rect">
            <a:avLst/>
          </a:prstGeom>
        </p:spPr>
        <p:txBody>
          <a:bodyPr vert="eaVert"/>
          <a:lstStyle>
            <a:lvl1pPr marL="0" indent="0">
              <a:buNone/>
              <a:defRPr sz="3900" b="0" i="1">
                <a:solidFill>
                  <a:srgbClr val="0000FF"/>
                </a:solidFill>
                <a:latin typeface="TIM Sans Thin" pitchFamily="2" charset="77"/>
              </a:defRPr>
            </a:lvl1pPr>
          </a:lstStyle>
          <a:p>
            <a:pPr lvl="0"/>
            <a:r>
              <a:rPr lang="en-US"/>
              <a:t>_</a:t>
            </a:r>
            <a:r>
              <a:rPr lang="en-US" err="1"/>
              <a:t>texto</a:t>
            </a:r>
            <a:endParaRPr lang="pt-BR"/>
          </a:p>
        </p:txBody>
      </p:sp>
      <p:sp>
        <p:nvSpPr>
          <p:cNvPr id="8" name="Vertical Text Placeholder 17">
            <a:extLst>
              <a:ext uri="{FF2B5EF4-FFF2-40B4-BE49-F238E27FC236}">
                <a16:creationId xmlns:a16="http://schemas.microsoft.com/office/drawing/2014/main" id="{E70EC59C-8ADF-6542-A636-6E476CEFB427}"/>
              </a:ext>
            </a:extLst>
          </p:cNvPr>
          <p:cNvSpPr>
            <a:spLocks noGrp="1"/>
          </p:cNvSpPr>
          <p:nvPr>
            <p:ph type="body" orient="vert" sz="quarter" idx="12" hasCustomPrompt="1"/>
          </p:nvPr>
        </p:nvSpPr>
        <p:spPr>
          <a:xfrm rot="10800000">
            <a:off x="11747500" y="377769"/>
            <a:ext cx="236576" cy="1019871"/>
          </a:xfrm>
          <a:prstGeom prst="rect">
            <a:avLst/>
          </a:prstGeom>
        </p:spPr>
        <p:txBody>
          <a:bodyPr vert="eaVert"/>
          <a:lstStyle>
            <a:lvl1pPr marL="0" indent="0" algn="r">
              <a:buNone/>
              <a:defRPr sz="800" b="0" i="1">
                <a:solidFill>
                  <a:srgbClr val="0000FF"/>
                </a:solidFill>
                <a:latin typeface="TIM Sans" pitchFamily="2" charset="77"/>
              </a:defRPr>
            </a:lvl1pPr>
          </a:lstStyle>
          <a:p>
            <a:pPr lvl="0"/>
            <a:r>
              <a:rPr lang="en-US"/>
              <a:t>DIA . MÊS . ANO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20958399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DAAF5631-5C96-3A43-861D-4A6A1F7443A9}"/>
              </a:ext>
            </a:extLst>
          </p:cNvPr>
          <p:cNvSpPr/>
          <p:nvPr userDrawn="1"/>
        </p:nvSpPr>
        <p:spPr>
          <a:xfrm>
            <a:off x="5284518" y="0"/>
            <a:ext cx="6907482" cy="6858000"/>
          </a:xfrm>
          <a:prstGeom prst="rect">
            <a:avLst/>
          </a:prstGeom>
          <a:pattFill prst="pct5">
            <a:fgClr>
              <a:srgbClr val="0000FF"/>
            </a:fgClr>
            <a:bgClr>
              <a:schemeClr val="bg1"/>
            </a:bgClr>
          </a:pattFill>
          <a:ln>
            <a:noFill/>
          </a:ln>
          <a:effectLst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8251CE7-D523-F64F-AD74-D8FDF07274C4}"/>
              </a:ext>
            </a:extLst>
          </p:cNvPr>
          <p:cNvSpPr txBox="1"/>
          <p:nvPr userDrawn="1"/>
        </p:nvSpPr>
        <p:spPr>
          <a:xfrm>
            <a:off x="6195753" y="3487546"/>
            <a:ext cx="3580546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6000" i="1">
                <a:solidFill>
                  <a:srgbClr val="0000FF"/>
                </a:solidFill>
                <a:latin typeface="TIM Sans Thin" pitchFamily="2" charset="77"/>
              </a:rPr>
              <a:t>Obrigado.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AC4D162C-C169-D74C-AA00-784063A748C8}"/>
              </a:ext>
            </a:extLst>
          </p:cNvPr>
          <p:cNvSpPr txBox="1"/>
          <p:nvPr userDrawn="1"/>
        </p:nvSpPr>
        <p:spPr>
          <a:xfrm>
            <a:off x="6284071" y="5726340"/>
            <a:ext cx="5155454" cy="3600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870" b="1">
                <a:solidFill>
                  <a:srgbClr val="0000FF"/>
                </a:solidFill>
                <a:latin typeface="TIM Sans Heavy" pitchFamily="2" charset="77"/>
              </a:rPr>
              <a:t>Todos os direitos reservados à TIM Brasil®.</a:t>
            </a:r>
          </a:p>
          <a:p>
            <a:r>
              <a:rPr lang="pt-BR" sz="870">
                <a:solidFill>
                  <a:srgbClr val="0000FF"/>
                </a:solidFill>
                <a:latin typeface="TIM Sans Medium" pitchFamily="2" charset="77"/>
              </a:rPr>
              <a:t>O conteúdo desse material só deve ser compartilhado com autorização.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A6FCEC92-71FB-A44D-A266-3D3B9C6B6E2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488204" y="2126751"/>
            <a:ext cx="4220028" cy="11151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336474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2BB2098-308D-4FBA-83FC-DAB2E3DB66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pt-BR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3578166-A9A7-4C59-9837-86E31740842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74E78B5-A430-4FF0-812A-4385832D2A2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4CD205-6D29-4C6F-93E9-9396C2035537}" type="datetimeFigureOut">
              <a:rPr lang="pt-BR" smtClean="0"/>
              <a:t>20/04/2023</a:t>
            </a:fld>
            <a:endParaRPr lang="pt-BR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84FB627-8259-4BA3-B5B7-4E99552A3D8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6489517-4B15-43EC-B250-98D94331E0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FDE1F3-EC66-4D0B-B38F-BBBBE7E3DE8E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31491468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9F86C07-0090-4FB1-A31C-DC7958DAEF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pt-BR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B27CFA5-5C3F-4926-B172-B2645B0AA5E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t-BR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825597F-B85A-46E8-AD0D-F6DE99BABC5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t-BR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DF8B2CF-5E83-4FDD-A75F-13750005FFA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4CD205-6D29-4C6F-93E9-9396C2035537}" type="datetimeFigureOut">
              <a:rPr lang="pt-BR" smtClean="0"/>
              <a:t>20/04/2023</a:t>
            </a:fld>
            <a:endParaRPr lang="pt-BR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D698D0F-2F33-4AE6-B020-9FEB8AE923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1878CD7-CE2B-4F33-8F5F-4E3738953B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FDE1F3-EC66-4D0B-B38F-BBBBE7E3DE8E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65495445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09C1F75-AEC1-4FC7-A3C3-50A0D1FDC7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pt-BR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B28414C-8D14-455D-ADCC-5531C722D0A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12BB288-F22A-4AE7-B079-6A274A602D0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t-BR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6007A84-5483-4EAB-A24F-F9C4DFB1159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EF819491-65F9-41EF-83FE-DE8EEE7F8D68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t-BR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95E32B43-E782-469C-B2DA-AB6A152781C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4CD205-6D29-4C6F-93E9-9396C2035537}" type="datetimeFigureOut">
              <a:rPr lang="pt-BR" smtClean="0"/>
              <a:t>20/04/2023</a:t>
            </a:fld>
            <a:endParaRPr lang="pt-BR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4B5EA43-E0FC-4FF8-9237-7AA6F8862FA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495277D-3FCC-4720-940E-6041D7788FE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FDE1F3-EC66-4D0B-B38F-BBBBE7E3DE8E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86783874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7049D2B-00D4-4369-B55D-030E1B8721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pt-BR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7C7E26F-9E9A-4C42-80EE-56DA9C87A6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4CD205-6D29-4C6F-93E9-9396C2035537}" type="datetimeFigureOut">
              <a:rPr lang="pt-BR" smtClean="0"/>
              <a:t>20/04/2023</a:t>
            </a:fld>
            <a:endParaRPr lang="pt-BR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978B20-BA28-4614-BA90-37FDE6D7D2E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215A8AD-372D-4E53-8452-BE0BB72BEC9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FDE1F3-EC66-4D0B-B38F-BBBBE7E3DE8E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82884420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92223D2-D5F2-454D-A5D4-06B5E334BC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4CD205-6D29-4C6F-93E9-9396C2035537}" type="datetimeFigureOut">
              <a:rPr lang="pt-BR" smtClean="0"/>
              <a:t>20/04/2023</a:t>
            </a:fld>
            <a:endParaRPr lang="pt-BR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EE69166-5546-47AF-A88B-13F29000DD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772F21C-64B7-47C9-B740-C81EA49F67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FDE1F3-EC66-4D0B-B38F-BBBBE7E3DE8E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13465058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8EF751F-2CE0-4CC9-B960-1AF24AADCE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pt-BR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EE50D3D-AE42-4991-B6F3-68DB49B6613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t-BR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9E61D0F-4AAE-4F64-B0AC-AC17F35287F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67B452B-BE56-4147-A49C-39E9FE2B039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4CD205-6D29-4C6F-93E9-9396C2035537}" type="datetimeFigureOut">
              <a:rPr lang="pt-BR" smtClean="0"/>
              <a:t>20/04/2023</a:t>
            </a:fld>
            <a:endParaRPr lang="pt-BR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1A1A585-9A28-4AC6-804B-FD2412B0C2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E17BA79-BE6F-4D08-AEB1-DA4D5BCB88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FDE1F3-EC66-4D0B-B38F-BBBBE7E3DE8E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57296536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9630FAC-5A69-4FEA-BD3C-1216250615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pt-BR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FB795A51-63AA-4C56-960D-CC3213A0C3A6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BR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BA1CB41-19F2-414D-9777-D7EC67C309F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F3915FC-E8E6-42EB-AD97-E096203B02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4CD205-6D29-4C6F-93E9-9396C2035537}" type="datetimeFigureOut">
              <a:rPr lang="pt-BR" smtClean="0"/>
              <a:t>20/04/2023</a:t>
            </a:fld>
            <a:endParaRPr lang="pt-BR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DFC973D-9EAD-476E-AE5F-288DFFECA1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7CDBEE6-4D97-43AC-8BC8-771DAAC305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FDE1F3-EC66-4D0B-B38F-BBBBE7E3DE8E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56815338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5.xml"/><Relationship Id="rId16" Type="http://schemas.openxmlformats.org/officeDocument/2006/relationships/image" Target="../media/image3.emf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23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alpha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67823409-CA29-4F63-921B-21E120CC3B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pt-BR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1F7F879-1E6F-4B78-9CD5-4D1BEABAF58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t-BR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635CC8A-1829-43ED-AD83-CC11264469B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74CD205-6D29-4C6F-93E9-9396C2035537}" type="datetimeFigureOut">
              <a:rPr lang="pt-BR" smtClean="0"/>
              <a:t>20/04/2023</a:t>
            </a:fld>
            <a:endParaRPr lang="pt-BR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06EBE91-7A45-47BF-A578-24062F63CBD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87A372E-0E87-4B19-806F-65AD67D587B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1FDE1F3-EC66-4D0B-B38F-BBBBE7E3DE8E}" type="slidenum">
              <a:rPr lang="pt-BR" smtClean="0"/>
              <a:t>‹#›</a:t>
            </a:fld>
            <a:endParaRPr lang="pt-BR"/>
          </a:p>
        </p:txBody>
      </p:sp>
      <p:sp>
        <p:nvSpPr>
          <p:cNvPr id="7" name="MSIPCMContentMarking" descr="{&quot;HashCode&quot;:-1074669960,&quot;Placement&quot;:&quot;Footer&quot;,&quot;Top&quot;:522.0343,&quot;Left&quot;:428.027649,&quot;SlideWidth&quot;:960,&quot;SlideHeight&quot;:540}">
            <a:extLst>
              <a:ext uri="{FF2B5EF4-FFF2-40B4-BE49-F238E27FC236}">
                <a16:creationId xmlns:a16="http://schemas.microsoft.com/office/drawing/2014/main" id="{277D67BE-33F6-47DE-9F21-99FD89591371}"/>
              </a:ext>
            </a:extLst>
          </p:cNvPr>
          <p:cNvSpPr txBox="1"/>
          <p:nvPr userDrawn="1"/>
        </p:nvSpPr>
        <p:spPr>
          <a:xfrm>
            <a:off x="5435951" y="6629836"/>
            <a:ext cx="1320099" cy="228163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737373"/>
                </a:solidFill>
                <a:latin typeface="Calibri" panose="020F0502020204030204" pitchFamily="34" charset="0"/>
              </a:rPr>
              <a:t>Classificado como Público</a:t>
            </a:r>
          </a:p>
        </p:txBody>
      </p:sp>
    </p:spTree>
    <p:extLst>
      <p:ext uri="{BB962C8B-B14F-4D97-AF65-F5344CB8AC3E}">
        <p14:creationId xmlns:p14="http://schemas.microsoft.com/office/powerpoint/2010/main" val="36222008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CE4711BB-1616-4265-9867-FD17DAD443C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4256135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2" name="think-cell Slide" r:id="rId15" imgW="421" imgH="423" progId="TCLayout.ActiveDocument.1">
                  <p:embed/>
                </p:oleObj>
              </mc:Choice>
              <mc:Fallback>
                <p:oleObj name="think-cell Slide" r:id="rId15" imgW="421" imgH="42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CE4711BB-1616-4265-9867-FD17DAD443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SIPCMContentMarking" descr="{&quot;HashCode&quot;:1105292881,&quot;Placement&quot;:&quot;Footer&quot;,&quot;Top&quot;:522.0343,&quot;Left&quot;:428.027649,&quot;SlideWidth&quot;:960,&quot;SlideHeight&quot;:540}">
            <a:extLst>
              <a:ext uri="{FF2B5EF4-FFF2-40B4-BE49-F238E27FC236}">
                <a16:creationId xmlns:a16="http://schemas.microsoft.com/office/drawing/2014/main" id="{64522FCD-1685-4A6F-9731-929DF237E13C}"/>
              </a:ext>
            </a:extLst>
          </p:cNvPr>
          <p:cNvSpPr txBox="1"/>
          <p:nvPr userDrawn="1"/>
        </p:nvSpPr>
        <p:spPr>
          <a:xfrm>
            <a:off x="5435951" y="6629836"/>
            <a:ext cx="1320099" cy="228163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737373"/>
                </a:solidFill>
                <a:latin typeface="Calibri" panose="020F0502020204030204" pitchFamily="34" charset="0"/>
              </a:rPr>
              <a:t>Classificado como Público</a:t>
            </a:r>
          </a:p>
        </p:txBody>
      </p:sp>
    </p:spTree>
    <p:extLst>
      <p:ext uri="{BB962C8B-B14F-4D97-AF65-F5344CB8AC3E}">
        <p14:creationId xmlns:p14="http://schemas.microsoft.com/office/powerpoint/2010/main" val="26672730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  <p:sldLayoutId id="2147483667" r:id="rId5"/>
    <p:sldLayoutId id="2147483668" r:id="rId6"/>
    <p:sldLayoutId id="2147483669" r:id="rId7"/>
    <p:sldLayoutId id="2147483670" r:id="rId8"/>
    <p:sldLayoutId id="2147483671" r:id="rId9"/>
    <p:sldLayoutId id="2147483672" r:id="rId10"/>
    <p:sldLayoutId id="2147483673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image" Target="../media/image6.emf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A971CEF0-EE50-EA4A-96E2-66ABBD6EB50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r>
              <a:rPr lang="pt-BR" dirty="0" err="1"/>
              <a:t>Churn</a:t>
            </a:r>
            <a:r>
              <a:rPr lang="pt-BR" dirty="0"/>
              <a:t> Involuntário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22291BD-0D0F-AF44-B427-22B6B4C6DBF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>
            <a:normAutofit fontScale="92500" lnSpcReduction="20000"/>
          </a:bodyPr>
          <a:lstStyle/>
          <a:p>
            <a:r>
              <a:rPr lang="pt-BR" dirty="0"/>
              <a:t>Data: 23/04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2A971F4-6883-1148-8AA7-E10A1F42AE3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>
            <a:normAutofit fontScale="92500" lnSpcReduction="20000"/>
          </a:bodyPr>
          <a:lstStyle/>
          <a:p>
            <a:r>
              <a:rPr lang="pt-BR" dirty="0"/>
              <a:t>Área: </a:t>
            </a:r>
            <a:r>
              <a:rPr lang="pt-BR" dirty="0" err="1"/>
              <a:t>Customer</a:t>
            </a:r>
            <a:r>
              <a:rPr lang="pt-BR" dirty="0"/>
              <a:t> Insights &amp; Data </a:t>
            </a:r>
            <a:r>
              <a:rPr lang="pt-BR" dirty="0" err="1"/>
              <a:t>Analytics</a:t>
            </a:r>
            <a:endParaRPr lang="pt-BR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40FF0639-2CEE-5341-BDA7-3821F3241D8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00079" y="2126751"/>
            <a:ext cx="4203209" cy="1115137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36B916A5-E1F2-4B57-87B2-027EA23D9299}"/>
              </a:ext>
            </a:extLst>
          </p:cNvPr>
          <p:cNvSpPr/>
          <p:nvPr/>
        </p:nvSpPr>
        <p:spPr>
          <a:xfrm>
            <a:off x="5340108" y="6542404"/>
            <a:ext cx="6441020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pt-BR" sz="800" b="1" dirty="0">
                <a:solidFill>
                  <a:schemeClr val="bg1"/>
                </a:solidFill>
                <a:latin typeface="TIM Sans Heavy" pitchFamily="2" charset="77"/>
              </a:rPr>
              <a:t> </a:t>
            </a:r>
            <a:r>
              <a:rPr lang="pt-BR" sz="800" dirty="0">
                <a:solidFill>
                  <a:schemeClr val="bg1"/>
                </a:solidFill>
                <a:latin typeface="TIM Sans Medium" pitchFamily="2" charset="77"/>
              </a:rPr>
              <a:t>O conteúdo desse material só deve ser compartilhado com autorização.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4FB9CF72-AC0F-4F90-9303-8E75DBA73FC4}"/>
              </a:ext>
            </a:extLst>
          </p:cNvPr>
          <p:cNvSpPr txBox="1">
            <a:spLocks/>
          </p:cNvSpPr>
          <p:nvPr/>
        </p:nvSpPr>
        <p:spPr>
          <a:xfrm>
            <a:off x="6010379" y="5000321"/>
            <a:ext cx="5241009" cy="91254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bg1"/>
                </a:solidFill>
                <a:latin typeface="TIM Sans" pitchFamily="2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dirty="0"/>
              <a:t>Objetivo: Entender o que os clientes que deixaram de pagar suas faturas de novembro falam no atendimento</a:t>
            </a:r>
          </a:p>
        </p:txBody>
      </p:sp>
    </p:spTree>
    <p:extLst>
      <p:ext uri="{BB962C8B-B14F-4D97-AF65-F5344CB8AC3E}">
        <p14:creationId xmlns:p14="http://schemas.microsoft.com/office/powerpoint/2010/main" val="416948164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00F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EC633CE8-7AF5-4F40-9F89-3B44ACA33738}"/>
              </a:ext>
            </a:extLst>
          </p:cNvPr>
          <p:cNvSpPr txBox="1"/>
          <p:nvPr/>
        </p:nvSpPr>
        <p:spPr>
          <a:xfrm>
            <a:off x="892265" y="1112986"/>
            <a:ext cx="8587015" cy="550150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IM Sans Light" pitchFamily="2" charset="77"/>
                <a:ea typeface="+mn-ea"/>
                <a:cs typeface="+mn-cs"/>
              </a:rPr>
              <a:t>Temas:</a:t>
            </a: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Tx/>
              <a:buSzTx/>
              <a:buFontTx/>
              <a:buNone/>
              <a:tabLst/>
              <a:defRPr/>
            </a:pPr>
            <a:endParaRPr lang="pt-BR" sz="2000" b="1" dirty="0">
              <a:solidFill>
                <a:srgbClr val="FFFFFF"/>
              </a:solidFill>
              <a:latin typeface="TIM Sans Light" pitchFamily="2" charset="77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Tx/>
              <a:buSzTx/>
              <a:buFontTx/>
              <a:buNone/>
              <a:tabLst/>
              <a:defRPr/>
            </a:pPr>
            <a:r>
              <a:rPr lang="pt-BR" sz="2000" b="1" dirty="0">
                <a:solidFill>
                  <a:srgbClr val="FFFFFF"/>
                </a:solidFill>
                <a:latin typeface="TIM Sans Light" pitchFamily="2" charset="77"/>
              </a:rPr>
              <a:t>Metodologia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2000" dirty="0">
                <a:solidFill>
                  <a:srgbClr val="FFFFFF"/>
                </a:solidFill>
                <a:latin typeface="TIM Sans Light" pitchFamily="2" charset="77"/>
              </a:rPr>
              <a:t>Base de clientes com </a:t>
            </a:r>
            <a:r>
              <a:rPr lang="pt-BR" sz="2000" dirty="0" err="1">
                <a:solidFill>
                  <a:srgbClr val="FFFFFF"/>
                </a:solidFill>
                <a:latin typeface="TIM Sans Light" pitchFamily="2" charset="77"/>
              </a:rPr>
              <a:t>Churn</a:t>
            </a:r>
            <a:r>
              <a:rPr lang="pt-BR" sz="2000" dirty="0">
                <a:solidFill>
                  <a:srgbClr val="FFFFFF"/>
                </a:solidFill>
                <a:latin typeface="TIM Sans Light" pitchFamily="2" charset="77"/>
              </a:rPr>
              <a:t> Involuntário em </a:t>
            </a:r>
            <a:r>
              <a:rPr lang="pt-BR" sz="2000">
                <a:solidFill>
                  <a:srgbClr val="FFFFFF"/>
                </a:solidFill>
                <a:latin typeface="TIM Sans Light" pitchFamily="2" charset="77"/>
              </a:rPr>
              <a:t>Mar/23</a:t>
            </a:r>
            <a:endParaRPr lang="pt-BR" sz="2000" dirty="0">
              <a:solidFill>
                <a:srgbClr val="FFFFFF"/>
              </a:solidFill>
              <a:latin typeface="TIM Sans Light" pitchFamily="2" charset="77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2000" dirty="0">
                <a:solidFill>
                  <a:srgbClr val="FFFFFF"/>
                </a:solidFill>
                <a:latin typeface="TIM Sans Light" pitchFamily="2" charset="77"/>
              </a:rPr>
              <a:t>Base Speech </a:t>
            </a:r>
            <a:r>
              <a:rPr lang="pt-BR" sz="2000" dirty="0" err="1">
                <a:solidFill>
                  <a:srgbClr val="FFFFFF"/>
                </a:solidFill>
                <a:latin typeface="TIM Sans Light" pitchFamily="2" charset="77"/>
              </a:rPr>
              <a:t>Analytics</a:t>
            </a:r>
            <a:endParaRPr lang="pt-BR" sz="2000" dirty="0">
              <a:solidFill>
                <a:srgbClr val="FFFFFF"/>
              </a:solidFill>
              <a:latin typeface="TIM Sans Light" pitchFamily="2" charset="77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2000" dirty="0">
                <a:solidFill>
                  <a:srgbClr val="FFFFFF"/>
                </a:solidFill>
                <a:latin typeface="TIM Sans Light" pitchFamily="2" charset="77"/>
              </a:rPr>
              <a:t>Análise corresponde de Set/2022 até </a:t>
            </a:r>
            <a:r>
              <a:rPr lang="pt-BR" sz="2000" dirty="0" err="1">
                <a:solidFill>
                  <a:srgbClr val="FFFFFF"/>
                </a:solidFill>
                <a:latin typeface="TIM Sans Light" pitchFamily="2" charset="77"/>
              </a:rPr>
              <a:t>Fev</a:t>
            </a:r>
            <a:r>
              <a:rPr lang="pt-BR" sz="2000" dirty="0">
                <a:solidFill>
                  <a:srgbClr val="FFFFFF"/>
                </a:solidFill>
                <a:latin typeface="TIM Sans Light" pitchFamily="2" charset="77"/>
              </a:rPr>
              <a:t>/2023</a:t>
            </a:r>
          </a:p>
          <a:p>
            <a:pPr marL="457200" marR="0" lvl="0" indent="-45720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pt-BR" sz="2800" b="1" dirty="0">
              <a:solidFill>
                <a:srgbClr val="FFFFFF"/>
              </a:solidFill>
              <a:latin typeface="TIM Sans Light" pitchFamily="2" charset="77"/>
            </a:endParaRPr>
          </a:p>
          <a:p>
            <a:pPr marR="0" lvl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Tx/>
              <a:buSzTx/>
              <a:tabLst/>
              <a:defRPr/>
            </a:pPr>
            <a:r>
              <a:rPr lang="pt-BR" sz="2000" b="1" dirty="0">
                <a:solidFill>
                  <a:srgbClr val="FFFFFF"/>
                </a:solidFill>
                <a:latin typeface="TIM Sans Light" pitchFamily="2" charset="77"/>
              </a:rPr>
              <a:t>Métricas estudadas:</a:t>
            </a:r>
          </a:p>
          <a:p>
            <a:pPr marL="342900" marR="0" lvl="0" indent="-34290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pt-BR" sz="2000" dirty="0">
                <a:solidFill>
                  <a:srgbClr val="FFFFFF"/>
                </a:solidFill>
                <a:latin typeface="TIM Sans Light" pitchFamily="2" charset="77"/>
              </a:rPr>
              <a:t>Motivadores</a:t>
            </a:r>
          </a:p>
          <a:p>
            <a:pPr marL="342900" marR="0" lvl="0" indent="-34290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pt-BR" sz="2000" dirty="0">
                <a:solidFill>
                  <a:srgbClr val="FFFFFF"/>
                </a:solidFill>
                <a:latin typeface="TIM Sans Light" pitchFamily="2" charset="77"/>
              </a:rPr>
              <a:t>Motivadores ditos juntos</a:t>
            </a:r>
          </a:p>
          <a:p>
            <a:pPr marL="342900" marR="0" lvl="0" indent="-34290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pt-BR" sz="2000" dirty="0" err="1">
                <a:solidFill>
                  <a:srgbClr val="FFFFFF"/>
                </a:solidFill>
                <a:latin typeface="TIM Sans Light" pitchFamily="2" charset="77"/>
              </a:rPr>
              <a:t>Submotivadores</a:t>
            </a:r>
            <a:endParaRPr lang="pt-BR" sz="2000" dirty="0">
              <a:solidFill>
                <a:srgbClr val="FFFFFF"/>
              </a:solidFill>
              <a:latin typeface="TIM Sans Light" pitchFamily="2" charset="77"/>
            </a:endParaRPr>
          </a:p>
          <a:p>
            <a:pPr marL="342900" indent="-342900">
              <a:spcAft>
                <a:spcPts val="900"/>
              </a:spcAft>
              <a:buFont typeface="Arial" panose="020B0604020202020204" pitchFamily="34" charset="0"/>
              <a:buChar char="•"/>
              <a:defRPr/>
            </a:pPr>
            <a:r>
              <a:rPr lang="pt-BR" sz="2000" dirty="0">
                <a:solidFill>
                  <a:srgbClr val="FFFFFF"/>
                </a:solidFill>
                <a:latin typeface="TIM Sans Light" pitchFamily="2" charset="77"/>
              </a:rPr>
              <a:t>Dores associados</a:t>
            </a: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Tx/>
              <a:buSzTx/>
              <a:buFontTx/>
              <a:buNone/>
              <a:tabLst/>
              <a:defRPr/>
            </a:pPr>
            <a:endParaRPr kumimoji="0" lang="pt-BR" sz="2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IM Sans Light" pitchFamily="2" charset="77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2345319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10">
            <a:extLst>
              <a:ext uri="{FF2B5EF4-FFF2-40B4-BE49-F238E27FC236}">
                <a16:creationId xmlns:a16="http://schemas.microsoft.com/office/drawing/2014/main" id="{7EE1B14E-16CC-4D76-B39B-0959C47F8B12}"/>
              </a:ext>
            </a:extLst>
          </p:cNvPr>
          <p:cNvSpPr txBox="1"/>
          <p:nvPr/>
        </p:nvSpPr>
        <p:spPr>
          <a:xfrm>
            <a:off x="845185" y="682109"/>
            <a:ext cx="6096000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2800">
                <a:solidFill>
                  <a:srgbClr val="0000F4"/>
                </a:solidFill>
                <a:latin typeface="TIM Sans" panose="00000500000000000000" charset="0"/>
              </a:rPr>
              <a:t>Universo de anális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9FCA7358-E247-42D4-A7FE-AD83A17D55BE}"/>
              </a:ext>
            </a:extLst>
          </p:cNvPr>
          <p:cNvSpPr txBox="1"/>
          <p:nvPr/>
        </p:nvSpPr>
        <p:spPr>
          <a:xfrm>
            <a:off x="827771" y="1373145"/>
            <a:ext cx="609600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pt-BR" sz="1200">
                <a:solidFill>
                  <a:srgbClr val="0000F4"/>
                </a:solidFill>
                <a:latin typeface="TIM Sans" panose="00000500000000000000" charset="0"/>
              </a:rPr>
              <a:t>Busca do cliente por atendimento (Cliente único)*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F66B1E5-98C7-4C36-8AD2-50398CA604CE}"/>
              </a:ext>
            </a:extLst>
          </p:cNvPr>
          <p:cNvSpPr txBox="1"/>
          <p:nvPr/>
        </p:nvSpPr>
        <p:spPr>
          <a:xfrm>
            <a:off x="902334" y="4480128"/>
            <a:ext cx="609600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pt-BR" sz="1200">
                <a:solidFill>
                  <a:srgbClr val="0000F4"/>
                </a:solidFill>
                <a:latin typeface="TIM Sans" panose="00000500000000000000" charset="0"/>
              </a:rPr>
              <a:t>Volume mês a mês Speech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3CD178A2-2C9E-4844-BA97-1FD6E1239ECD}"/>
              </a:ext>
            </a:extLst>
          </p:cNvPr>
          <p:cNvGrpSpPr/>
          <p:nvPr/>
        </p:nvGrpSpPr>
        <p:grpSpPr>
          <a:xfrm>
            <a:off x="6998334" y="1872545"/>
            <a:ext cx="860215" cy="701529"/>
            <a:chOff x="8232985" y="1518717"/>
            <a:chExt cx="1061800" cy="903542"/>
          </a:xfrm>
        </p:grpSpPr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990752EF-7DD9-46BF-9A1D-417D41793B0C}"/>
                </a:ext>
              </a:extLst>
            </p:cNvPr>
            <p:cNvSpPr txBox="1"/>
            <p:nvPr/>
          </p:nvSpPr>
          <p:spPr>
            <a:xfrm>
              <a:off x="8232985" y="2145260"/>
              <a:ext cx="1061800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pt-BR" sz="1200">
                  <a:solidFill>
                    <a:srgbClr val="0000FF"/>
                  </a:solidFill>
                  <a:latin typeface="TIM Sans" pitchFamily="2" charset="77"/>
                </a:rPr>
                <a:t>Info</a:t>
              </a:r>
            </a:p>
          </p:txBody>
        </p:sp>
        <p:pic>
          <p:nvPicPr>
            <p:cNvPr id="18" name="Picture 17">
              <a:extLst>
                <a:ext uri="{FF2B5EF4-FFF2-40B4-BE49-F238E27FC236}">
                  <a16:creationId xmlns:a16="http://schemas.microsoft.com/office/drawing/2014/main" id="{EC16DC4B-E0EB-424E-A59E-0C87E401E662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8484569" y="1518717"/>
              <a:ext cx="587997" cy="587997"/>
            </a:xfrm>
            <a:prstGeom prst="rect">
              <a:avLst/>
            </a:prstGeom>
          </p:spPr>
        </p:pic>
      </p:grpSp>
      <p:sp>
        <p:nvSpPr>
          <p:cNvPr id="21" name="TextBox 20">
            <a:extLst>
              <a:ext uri="{FF2B5EF4-FFF2-40B4-BE49-F238E27FC236}">
                <a16:creationId xmlns:a16="http://schemas.microsoft.com/office/drawing/2014/main" id="{62384CB3-78A4-48E0-B885-AB190829E7F5}"/>
              </a:ext>
            </a:extLst>
          </p:cNvPr>
          <p:cNvSpPr txBox="1"/>
          <p:nvPr/>
        </p:nvSpPr>
        <p:spPr>
          <a:xfrm>
            <a:off x="7827646" y="1841576"/>
            <a:ext cx="3383280" cy="181588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1600" dirty="0">
                <a:solidFill>
                  <a:srgbClr val="0000F4"/>
                </a:solidFill>
                <a:latin typeface="TIM Sans" panose="00000500000000000000" charset="0"/>
              </a:rPr>
              <a:t>Percebemos que esse perfil de cliente </a:t>
            </a:r>
            <a:r>
              <a:rPr lang="pt-BR" sz="1600" b="1" dirty="0">
                <a:solidFill>
                  <a:schemeClr val="accent5"/>
                </a:solidFill>
                <a:latin typeface="TIM Sans" panose="00000500000000000000" charset="0"/>
              </a:rPr>
              <a:t>busca por atendimento acima da média do segmento antes da sua fatura que ficou em aberto</a:t>
            </a:r>
            <a:r>
              <a:rPr lang="pt-BR" sz="1600" dirty="0">
                <a:solidFill>
                  <a:srgbClr val="0000F4"/>
                </a:solidFill>
                <a:latin typeface="TIM Sans" panose="00000500000000000000" charset="0"/>
              </a:rPr>
              <a:t>.</a:t>
            </a:r>
          </a:p>
          <a:p>
            <a:endParaRPr lang="pt-BR" sz="1600" dirty="0">
              <a:solidFill>
                <a:srgbClr val="0000F4"/>
              </a:solidFill>
              <a:latin typeface="TIM Sans" panose="00000500000000000000" charset="0"/>
            </a:endParaRPr>
          </a:p>
          <a:p>
            <a:r>
              <a:rPr lang="pt-BR" sz="1600" dirty="0">
                <a:solidFill>
                  <a:srgbClr val="0000F4"/>
                </a:solidFill>
                <a:latin typeface="TIM Sans" panose="00000500000000000000" charset="0"/>
              </a:rPr>
              <a:t>De setembro até fevereiro, ocorreu uma redução de  21 </a:t>
            </a:r>
            <a:r>
              <a:rPr lang="pt-BR" sz="1600" dirty="0" err="1">
                <a:solidFill>
                  <a:srgbClr val="0000F4"/>
                </a:solidFill>
                <a:latin typeface="TIM Sans" panose="00000500000000000000" charset="0"/>
              </a:rPr>
              <a:t>p.p</a:t>
            </a:r>
            <a:r>
              <a:rPr lang="pt-BR" sz="1600" dirty="0">
                <a:solidFill>
                  <a:srgbClr val="0000F4"/>
                </a:solidFill>
                <a:latin typeface="TIM Sans" panose="00000500000000000000" charset="0"/>
              </a:rPr>
              <a:t> 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7EC1CEC-E27A-4B63-93E0-395096543FE4}"/>
              </a:ext>
            </a:extLst>
          </p:cNvPr>
          <p:cNvSpPr txBox="1"/>
          <p:nvPr/>
        </p:nvSpPr>
        <p:spPr>
          <a:xfrm>
            <a:off x="113121" y="6598764"/>
            <a:ext cx="5344998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700" dirty="0"/>
              <a:t>*Controle total = Fonte: Cockpit</a:t>
            </a:r>
            <a:endParaRPr lang="en-US" sz="700" dirty="0"/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D16E609D-4EFD-4897-94F5-94F8D4968DB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85697659"/>
              </p:ext>
            </p:extLst>
          </p:nvPr>
        </p:nvGraphicFramePr>
        <p:xfrm>
          <a:off x="902334" y="4924943"/>
          <a:ext cx="5625578" cy="14732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67776">
                  <a:extLst>
                    <a:ext uri="{9D8B030D-6E8A-4147-A177-3AD203B41FA5}">
                      <a16:colId xmlns:a16="http://schemas.microsoft.com/office/drawing/2014/main" val="1349251856"/>
                    </a:ext>
                  </a:extLst>
                </a:gridCol>
                <a:gridCol w="792967">
                  <a:extLst>
                    <a:ext uri="{9D8B030D-6E8A-4147-A177-3AD203B41FA5}">
                      <a16:colId xmlns:a16="http://schemas.microsoft.com/office/drawing/2014/main" val="3284471359"/>
                    </a:ext>
                  </a:extLst>
                </a:gridCol>
                <a:gridCol w="792967">
                  <a:extLst>
                    <a:ext uri="{9D8B030D-6E8A-4147-A177-3AD203B41FA5}">
                      <a16:colId xmlns:a16="http://schemas.microsoft.com/office/drawing/2014/main" val="1287561164"/>
                    </a:ext>
                  </a:extLst>
                </a:gridCol>
                <a:gridCol w="792967">
                  <a:extLst>
                    <a:ext uri="{9D8B030D-6E8A-4147-A177-3AD203B41FA5}">
                      <a16:colId xmlns:a16="http://schemas.microsoft.com/office/drawing/2014/main" val="2012081011"/>
                    </a:ext>
                  </a:extLst>
                </a:gridCol>
                <a:gridCol w="792967">
                  <a:extLst>
                    <a:ext uri="{9D8B030D-6E8A-4147-A177-3AD203B41FA5}">
                      <a16:colId xmlns:a16="http://schemas.microsoft.com/office/drawing/2014/main" val="1668986447"/>
                    </a:ext>
                  </a:extLst>
                </a:gridCol>
                <a:gridCol w="792967">
                  <a:extLst>
                    <a:ext uri="{9D8B030D-6E8A-4147-A177-3AD203B41FA5}">
                      <a16:colId xmlns:a16="http://schemas.microsoft.com/office/drawing/2014/main" val="3876220669"/>
                    </a:ext>
                  </a:extLst>
                </a:gridCol>
                <a:gridCol w="792967">
                  <a:extLst>
                    <a:ext uri="{9D8B030D-6E8A-4147-A177-3AD203B41FA5}">
                      <a16:colId xmlns:a16="http://schemas.microsoft.com/office/drawing/2014/main" val="2681207619"/>
                    </a:ext>
                  </a:extLst>
                </a:gridCol>
              </a:tblGrid>
              <a:tr h="285750"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200" u="none" strike="noStrike" dirty="0">
                          <a:effectLst/>
                          <a:latin typeface="TIM Sans" panose="00000500000000000000"/>
                        </a:rPr>
                        <a:t> </a:t>
                      </a:r>
                      <a:endParaRPr lang="pt-BR" sz="1200" b="0" i="0" u="none" strike="noStrike" dirty="0">
                        <a:solidFill>
                          <a:srgbClr val="000000"/>
                        </a:solidFill>
                        <a:effectLst/>
                        <a:latin typeface="TIM Sans" panose="00000500000000000000"/>
                      </a:endParaRPr>
                    </a:p>
                  </a:txBody>
                  <a:tcPr marL="6350" marR="6350" marT="6350" marB="0" anchor="ctr">
                    <a:lnT w="12700" cap="flat" cmpd="sng" algn="ctr">
                      <a:solidFill>
                        <a:srgbClr val="0000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u="none" strike="noStrike" dirty="0">
                          <a:effectLst/>
                          <a:latin typeface="TIM Sans" panose="00000500000000000000"/>
                        </a:rPr>
                        <a:t>set/22</a:t>
                      </a:r>
                      <a:endParaRPr lang="pt-BR" sz="1200" b="0" i="0" u="none" strike="noStrike" dirty="0">
                        <a:solidFill>
                          <a:srgbClr val="000000"/>
                        </a:solidFill>
                        <a:effectLst/>
                        <a:latin typeface="TIM Sans" panose="00000500000000000000"/>
                      </a:endParaRPr>
                    </a:p>
                  </a:txBody>
                  <a:tcPr marL="6350" marR="6350" marT="6350" marB="0" anchor="ctr">
                    <a:lnT w="12700" cap="flat" cmpd="sng" algn="ctr">
                      <a:solidFill>
                        <a:srgbClr val="0000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u="none" strike="noStrike" dirty="0">
                          <a:effectLst/>
                          <a:latin typeface="TIM Sans" panose="00000500000000000000"/>
                        </a:rPr>
                        <a:t>out/22</a:t>
                      </a:r>
                      <a:endParaRPr lang="pt-BR" sz="1200" b="0" i="0" u="none" strike="noStrike" dirty="0">
                        <a:solidFill>
                          <a:srgbClr val="000000"/>
                        </a:solidFill>
                        <a:effectLst/>
                        <a:latin typeface="TIM Sans" panose="00000500000000000000"/>
                      </a:endParaRPr>
                    </a:p>
                  </a:txBody>
                  <a:tcPr marL="6350" marR="6350" marT="6350" marB="0" anchor="ctr">
                    <a:lnT w="12700" cap="flat" cmpd="sng" algn="ctr">
                      <a:solidFill>
                        <a:srgbClr val="0000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u="none" strike="noStrike">
                          <a:effectLst/>
                          <a:latin typeface="TIM Sans" panose="00000500000000000000"/>
                        </a:rPr>
                        <a:t>nov/22</a:t>
                      </a:r>
                      <a:endParaRPr lang="pt-BR" sz="1200" b="0" i="0" u="none" strike="noStrike">
                        <a:solidFill>
                          <a:srgbClr val="000000"/>
                        </a:solidFill>
                        <a:effectLst/>
                        <a:latin typeface="TIM Sans" panose="00000500000000000000"/>
                      </a:endParaRPr>
                    </a:p>
                  </a:txBody>
                  <a:tcPr marL="6350" marR="6350" marT="6350" marB="0" anchor="ctr">
                    <a:lnT w="12700" cap="flat" cmpd="sng" algn="ctr">
                      <a:solidFill>
                        <a:srgbClr val="0000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u="none" strike="noStrike">
                          <a:effectLst/>
                          <a:latin typeface="TIM Sans" panose="00000500000000000000"/>
                        </a:rPr>
                        <a:t>dez/22</a:t>
                      </a:r>
                      <a:endParaRPr lang="pt-BR" sz="1200" b="0" i="0" u="none" strike="noStrike">
                        <a:solidFill>
                          <a:srgbClr val="000000"/>
                        </a:solidFill>
                        <a:effectLst/>
                        <a:latin typeface="TIM Sans" panose="00000500000000000000"/>
                      </a:endParaRPr>
                    </a:p>
                  </a:txBody>
                  <a:tcPr marL="6350" marR="6350" marT="6350" marB="0" anchor="ctr">
                    <a:lnT w="12700" cap="flat" cmpd="sng" algn="ctr">
                      <a:solidFill>
                        <a:srgbClr val="0000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u="none" strike="noStrike">
                          <a:effectLst/>
                          <a:latin typeface="TIM Sans" panose="00000500000000000000"/>
                        </a:rPr>
                        <a:t>jan/23</a:t>
                      </a:r>
                      <a:endParaRPr lang="pt-BR" sz="1200" b="0" i="0" u="none" strike="noStrike">
                        <a:solidFill>
                          <a:srgbClr val="000000"/>
                        </a:solidFill>
                        <a:effectLst/>
                        <a:latin typeface="TIM Sans" panose="00000500000000000000"/>
                      </a:endParaRPr>
                    </a:p>
                  </a:txBody>
                  <a:tcPr marL="6350" marR="6350" marT="6350" marB="0" anchor="ctr">
                    <a:lnT w="12700" cap="flat" cmpd="sng" algn="ctr">
                      <a:solidFill>
                        <a:srgbClr val="0000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u="none" strike="noStrike" dirty="0" err="1">
                          <a:effectLst/>
                          <a:latin typeface="TIM Sans" panose="00000500000000000000"/>
                        </a:rPr>
                        <a:t>fev</a:t>
                      </a:r>
                      <a:r>
                        <a:rPr lang="pt-BR" sz="1200" u="none" strike="noStrike" dirty="0">
                          <a:effectLst/>
                          <a:latin typeface="TIM Sans" panose="00000500000000000000"/>
                        </a:rPr>
                        <a:t>/23</a:t>
                      </a:r>
                      <a:endParaRPr lang="pt-BR" sz="1200" b="0" i="0" u="none" strike="noStrike" dirty="0">
                        <a:solidFill>
                          <a:srgbClr val="000000"/>
                        </a:solidFill>
                        <a:effectLst/>
                        <a:latin typeface="TIM Sans" panose="00000500000000000000"/>
                      </a:endParaRPr>
                    </a:p>
                  </a:txBody>
                  <a:tcPr marL="6350" marR="6350" marT="6350" marB="0" anchor="ctr">
                    <a:lnT w="12700" cap="flat" cmpd="sng" algn="ctr">
                      <a:solidFill>
                        <a:srgbClr val="0000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68579653"/>
                  </a:ext>
                </a:extLst>
              </a:tr>
              <a:tr h="393700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200" u="none" strike="noStrike" dirty="0">
                          <a:effectLst/>
                          <a:latin typeface="TIM Sans" panose="00000500000000000000"/>
                        </a:rPr>
                        <a:t>Chamadas atendidas</a:t>
                      </a:r>
                      <a:endParaRPr lang="pt-BR" sz="1200" b="0" i="0" u="none" strike="noStrike" dirty="0">
                        <a:solidFill>
                          <a:srgbClr val="000000"/>
                        </a:solidFill>
                        <a:effectLst/>
                        <a:latin typeface="TIM Sans" panose="00000500000000000000"/>
                      </a:endParaRPr>
                    </a:p>
                  </a:txBody>
                  <a:tcPr marL="6350" marR="6350" marT="635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200" u="none" strike="noStrike" dirty="0">
                          <a:effectLst/>
                          <a:latin typeface="TIM Sans" panose="00000500000000000000"/>
                        </a:rPr>
                        <a:t>6735</a:t>
                      </a:r>
                      <a:endParaRPr lang="pt-BR" sz="1200" b="0" i="0" u="none" strike="noStrike" dirty="0">
                        <a:solidFill>
                          <a:srgbClr val="000000"/>
                        </a:solidFill>
                        <a:effectLst/>
                        <a:latin typeface="TIM Sans" panose="00000500000000000000"/>
                      </a:endParaRPr>
                    </a:p>
                  </a:txBody>
                  <a:tcPr marL="6350" marR="6350" marT="635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200" u="none" strike="noStrike">
                          <a:effectLst/>
                          <a:latin typeface="TIM Sans" panose="00000500000000000000"/>
                        </a:rPr>
                        <a:t>8285</a:t>
                      </a:r>
                      <a:endParaRPr lang="pt-BR" sz="1200" b="0" i="0" u="none" strike="noStrike">
                        <a:solidFill>
                          <a:srgbClr val="000000"/>
                        </a:solidFill>
                        <a:effectLst/>
                        <a:latin typeface="TIM Sans" panose="00000500000000000000"/>
                      </a:endParaRPr>
                    </a:p>
                  </a:txBody>
                  <a:tcPr marL="6350" marR="6350" marT="635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200" u="none" strike="noStrike" dirty="0">
                          <a:effectLst/>
                          <a:latin typeface="TIM Sans" panose="00000500000000000000"/>
                        </a:rPr>
                        <a:t>5404</a:t>
                      </a:r>
                      <a:endParaRPr lang="pt-BR" sz="1200" b="0" i="0" u="none" strike="noStrike" dirty="0">
                        <a:solidFill>
                          <a:srgbClr val="000000"/>
                        </a:solidFill>
                        <a:effectLst/>
                        <a:latin typeface="TIM Sans" panose="00000500000000000000"/>
                      </a:endParaRPr>
                    </a:p>
                  </a:txBody>
                  <a:tcPr marL="6350" marR="6350" marT="635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200" u="none" strike="noStrike" dirty="0">
                          <a:effectLst/>
                          <a:latin typeface="TIM Sans" panose="00000500000000000000"/>
                        </a:rPr>
                        <a:t>3386</a:t>
                      </a:r>
                      <a:endParaRPr lang="pt-BR" sz="1200" b="0" i="0" u="none" strike="noStrike" dirty="0">
                        <a:solidFill>
                          <a:srgbClr val="000000"/>
                        </a:solidFill>
                        <a:effectLst/>
                        <a:latin typeface="TIM Sans" panose="00000500000000000000"/>
                      </a:endParaRPr>
                    </a:p>
                  </a:txBody>
                  <a:tcPr marL="6350" marR="6350" marT="635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200" u="none" strike="noStrike" dirty="0">
                          <a:effectLst/>
                          <a:latin typeface="TIM Sans" panose="00000500000000000000"/>
                        </a:rPr>
                        <a:t>1602</a:t>
                      </a:r>
                      <a:endParaRPr lang="pt-BR" sz="1200" b="0" i="0" u="none" strike="noStrike" dirty="0">
                        <a:solidFill>
                          <a:srgbClr val="000000"/>
                        </a:solidFill>
                        <a:effectLst/>
                        <a:latin typeface="TIM Sans" panose="00000500000000000000"/>
                      </a:endParaRPr>
                    </a:p>
                  </a:txBody>
                  <a:tcPr marL="6350" marR="6350" marT="635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200" u="none" strike="noStrike" dirty="0">
                          <a:effectLst/>
                          <a:latin typeface="TIM Sans" panose="00000500000000000000"/>
                        </a:rPr>
                        <a:t>1093</a:t>
                      </a:r>
                      <a:endParaRPr lang="pt-BR" sz="1200" b="0" i="0" u="none" strike="noStrike" dirty="0">
                        <a:solidFill>
                          <a:srgbClr val="000000"/>
                        </a:solidFill>
                        <a:effectLst/>
                        <a:latin typeface="TIM Sans" panose="00000500000000000000"/>
                      </a:endParaRPr>
                    </a:p>
                  </a:txBody>
                  <a:tcPr marL="6350" marR="6350" marT="635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73326313"/>
                  </a:ext>
                </a:extLst>
              </a:tr>
              <a:tr h="793750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200" u="none" strike="noStrike" dirty="0">
                          <a:effectLst/>
                          <a:latin typeface="TIM Sans" panose="00000500000000000000"/>
                        </a:rPr>
                        <a:t>Chamadas interceptadas</a:t>
                      </a:r>
                      <a:endParaRPr lang="pt-BR" sz="1200" b="0" i="0" u="none" strike="noStrike" dirty="0">
                        <a:solidFill>
                          <a:srgbClr val="000000"/>
                        </a:solidFill>
                        <a:effectLst/>
                        <a:latin typeface="TIM Sans" panose="00000500000000000000"/>
                      </a:endParaRPr>
                    </a:p>
                  </a:txBody>
                  <a:tcPr marL="6350" marR="6350" marT="6350" marB="0" anchor="ctr">
                    <a:lnB w="12700" cap="flat" cmpd="sng" algn="ctr">
                      <a:solidFill>
                        <a:srgbClr val="0000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u="none" strike="noStrike">
                          <a:effectLst/>
                          <a:latin typeface="TIM Sans" panose="00000500000000000000"/>
                        </a:rPr>
                        <a:t>487</a:t>
                      </a:r>
                      <a:endParaRPr lang="pt-BR" sz="1200" b="0" i="0" u="none" strike="noStrike">
                        <a:solidFill>
                          <a:srgbClr val="000000"/>
                        </a:solidFill>
                        <a:effectLst/>
                        <a:latin typeface="TIM Sans" panose="00000500000000000000"/>
                      </a:endParaRPr>
                    </a:p>
                  </a:txBody>
                  <a:tcPr marL="6350" marR="6350" marT="6350" marB="0" anchor="ctr">
                    <a:lnB w="12700" cap="flat" cmpd="sng" algn="ctr">
                      <a:solidFill>
                        <a:srgbClr val="0000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u="none" strike="noStrike" dirty="0">
                          <a:effectLst/>
                          <a:latin typeface="TIM Sans" panose="00000500000000000000"/>
                        </a:rPr>
                        <a:t>663</a:t>
                      </a:r>
                      <a:endParaRPr lang="pt-BR" sz="1200" b="0" i="0" u="none" strike="noStrike" dirty="0">
                        <a:solidFill>
                          <a:srgbClr val="000000"/>
                        </a:solidFill>
                        <a:effectLst/>
                        <a:latin typeface="TIM Sans" panose="00000500000000000000"/>
                      </a:endParaRPr>
                    </a:p>
                  </a:txBody>
                  <a:tcPr marL="6350" marR="6350" marT="6350" marB="0" anchor="ctr">
                    <a:lnB w="12700" cap="flat" cmpd="sng" algn="ctr">
                      <a:solidFill>
                        <a:srgbClr val="0000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u="none" strike="noStrike" dirty="0">
                          <a:effectLst/>
                          <a:latin typeface="TIM Sans" panose="00000500000000000000"/>
                        </a:rPr>
                        <a:t>394</a:t>
                      </a:r>
                      <a:endParaRPr lang="pt-BR" sz="1200" b="0" i="0" u="none" strike="noStrike" dirty="0">
                        <a:solidFill>
                          <a:srgbClr val="000000"/>
                        </a:solidFill>
                        <a:effectLst/>
                        <a:latin typeface="TIM Sans" panose="00000500000000000000"/>
                      </a:endParaRPr>
                    </a:p>
                  </a:txBody>
                  <a:tcPr marL="6350" marR="6350" marT="6350" marB="0" anchor="ctr">
                    <a:lnB w="12700" cap="flat" cmpd="sng" algn="ctr">
                      <a:solidFill>
                        <a:srgbClr val="0000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u="none" strike="noStrike" dirty="0">
                          <a:effectLst/>
                          <a:latin typeface="TIM Sans" panose="00000500000000000000"/>
                        </a:rPr>
                        <a:t>500</a:t>
                      </a:r>
                      <a:endParaRPr lang="pt-BR" sz="1200" b="0" i="0" u="none" strike="noStrike" dirty="0">
                        <a:solidFill>
                          <a:srgbClr val="000000"/>
                        </a:solidFill>
                        <a:effectLst/>
                        <a:latin typeface="TIM Sans" panose="00000500000000000000"/>
                      </a:endParaRPr>
                    </a:p>
                  </a:txBody>
                  <a:tcPr marL="6350" marR="6350" marT="6350" marB="0" anchor="ctr">
                    <a:lnB w="12700" cap="flat" cmpd="sng" algn="ctr">
                      <a:solidFill>
                        <a:srgbClr val="0000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u="none" strike="noStrike" dirty="0">
                          <a:effectLst/>
                          <a:latin typeface="TIM Sans" panose="00000500000000000000"/>
                        </a:rPr>
                        <a:t>304</a:t>
                      </a:r>
                      <a:endParaRPr lang="pt-BR" sz="1200" b="0" i="0" u="none" strike="noStrike" dirty="0">
                        <a:solidFill>
                          <a:srgbClr val="000000"/>
                        </a:solidFill>
                        <a:effectLst/>
                        <a:latin typeface="TIM Sans" panose="00000500000000000000"/>
                      </a:endParaRPr>
                    </a:p>
                  </a:txBody>
                  <a:tcPr marL="6350" marR="6350" marT="6350" marB="0" anchor="ctr">
                    <a:lnB w="12700" cap="flat" cmpd="sng" algn="ctr">
                      <a:solidFill>
                        <a:srgbClr val="0000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u="none" strike="noStrike" dirty="0">
                          <a:effectLst/>
                          <a:latin typeface="TIM Sans" panose="00000500000000000000"/>
                        </a:rPr>
                        <a:t>224</a:t>
                      </a:r>
                      <a:endParaRPr lang="pt-BR" sz="1200" b="0" i="0" u="none" strike="noStrike" dirty="0">
                        <a:solidFill>
                          <a:srgbClr val="000000"/>
                        </a:solidFill>
                        <a:effectLst/>
                        <a:latin typeface="TIM Sans" panose="00000500000000000000"/>
                      </a:endParaRPr>
                    </a:p>
                  </a:txBody>
                  <a:tcPr marL="6350" marR="6350" marT="6350" marB="0" anchor="ctr">
                    <a:lnB w="12700" cap="flat" cmpd="sng" algn="ctr">
                      <a:solidFill>
                        <a:srgbClr val="0000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73396671"/>
                  </a:ext>
                </a:extLst>
              </a:tr>
            </a:tbl>
          </a:graphicData>
        </a:graphic>
      </p:graphicFrame>
      <p:graphicFrame>
        <p:nvGraphicFramePr>
          <p:cNvPr id="15" name="Chart 14">
            <a:extLst>
              <a:ext uri="{FF2B5EF4-FFF2-40B4-BE49-F238E27FC236}">
                <a16:creationId xmlns:a16="http://schemas.microsoft.com/office/drawing/2014/main" id="{E9D27D0B-0C66-4EDD-B5CF-76851316255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221399939"/>
              </p:ext>
            </p:extLst>
          </p:nvPr>
        </p:nvGraphicFramePr>
        <p:xfrm>
          <a:off x="827770" y="1693536"/>
          <a:ext cx="5700141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117985992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Chart 15">
            <a:extLst>
              <a:ext uri="{FF2B5EF4-FFF2-40B4-BE49-F238E27FC236}">
                <a16:creationId xmlns:a16="http://schemas.microsoft.com/office/drawing/2014/main" id="{810AAEA8-0F3E-418B-9215-852AD874EB9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10251572"/>
              </p:ext>
            </p:extLst>
          </p:nvPr>
        </p:nvGraphicFramePr>
        <p:xfrm>
          <a:off x="643466" y="994487"/>
          <a:ext cx="7788926" cy="551223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TextBox 16">
            <a:extLst>
              <a:ext uri="{FF2B5EF4-FFF2-40B4-BE49-F238E27FC236}">
                <a16:creationId xmlns:a16="http://schemas.microsoft.com/office/drawing/2014/main" id="{322FD4D9-F6EB-4F03-BDCC-AAA301844F23}"/>
              </a:ext>
            </a:extLst>
          </p:cNvPr>
          <p:cNvSpPr txBox="1"/>
          <p:nvPr/>
        </p:nvSpPr>
        <p:spPr>
          <a:xfrm>
            <a:off x="643466" y="471267"/>
            <a:ext cx="6532033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pt-BR"/>
            </a:defPPr>
            <a:lvl1pPr>
              <a:defRPr b="1" i="0">
                <a:solidFill>
                  <a:srgbClr val="004691"/>
                </a:solidFill>
                <a:effectLst/>
                <a:latin typeface="TIM Sans" panose="00000500000000000000"/>
              </a:defRPr>
            </a:lvl1pPr>
          </a:lstStyle>
          <a:p>
            <a:r>
              <a:rPr lang="pt-BR" sz="2800" dirty="0">
                <a:solidFill>
                  <a:srgbClr val="0000F4"/>
                </a:solidFill>
                <a:latin typeface="TIM Sans" panose="00000500000000000000" charset="0"/>
              </a:rPr>
              <a:t>Análise</a:t>
            </a:r>
            <a:r>
              <a:rPr lang="pt-BR" sz="2800" dirty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pt-BR" sz="2800" dirty="0">
                <a:solidFill>
                  <a:srgbClr val="0000F4"/>
                </a:solidFill>
                <a:latin typeface="TIM Sans" panose="00000500000000000000" charset="0"/>
              </a:rPr>
              <a:t>Motivadores (Pós Puro)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F42737EE-C8FC-4C89-8A76-7CAB9DB2C622}"/>
              </a:ext>
            </a:extLst>
          </p:cNvPr>
          <p:cNvSpPr txBox="1"/>
          <p:nvPr/>
        </p:nvSpPr>
        <p:spPr>
          <a:xfrm>
            <a:off x="8958193" y="1581150"/>
            <a:ext cx="3024257" cy="333937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1600" dirty="0">
                <a:solidFill>
                  <a:srgbClr val="0000F4"/>
                </a:solidFill>
                <a:latin typeface="TIM Sans" panose="00000500000000000000"/>
              </a:rPr>
              <a:t>Insight:</a:t>
            </a:r>
          </a:p>
          <a:p>
            <a:endParaRPr lang="pt-BR" sz="1100" dirty="0">
              <a:solidFill>
                <a:srgbClr val="0000F4"/>
              </a:solidFill>
              <a:latin typeface="TIM Sans" panose="00000500000000000000"/>
            </a:endParaRPr>
          </a:p>
          <a:p>
            <a:r>
              <a:rPr lang="pt-BR" sz="1600" dirty="0">
                <a:solidFill>
                  <a:srgbClr val="0000F4"/>
                </a:solidFill>
                <a:latin typeface="TIM Sans" panose="00000500000000000000"/>
              </a:rPr>
              <a:t>Os motivadores “Parcelamento Fatura” e “Pagamento em Aberto” são mais representativos nos clientes </a:t>
            </a:r>
            <a:r>
              <a:rPr lang="pt-BR" sz="1600" dirty="0" err="1">
                <a:solidFill>
                  <a:srgbClr val="0000F4"/>
                </a:solidFill>
                <a:latin typeface="TIM Sans" panose="00000500000000000000"/>
              </a:rPr>
              <a:t>churn</a:t>
            </a:r>
            <a:r>
              <a:rPr lang="pt-BR" sz="1600" dirty="0">
                <a:solidFill>
                  <a:srgbClr val="0000F4"/>
                </a:solidFill>
                <a:latin typeface="TIM Sans" panose="00000500000000000000"/>
              </a:rPr>
              <a:t> involuntário</a:t>
            </a:r>
          </a:p>
          <a:p>
            <a:pPr marL="285750" indent="-285750">
              <a:buFontTx/>
              <a:buChar char="-"/>
            </a:pPr>
            <a:r>
              <a:rPr lang="pt-BR" sz="1200" dirty="0">
                <a:solidFill>
                  <a:srgbClr val="0000F4"/>
                </a:solidFill>
                <a:latin typeface="TIM Sans" panose="00000500000000000000"/>
              </a:rPr>
              <a:t>Recomendação: Acompanhar o valor e variações na fatura desses clientes</a:t>
            </a:r>
          </a:p>
          <a:p>
            <a:endParaRPr lang="pt-BR" sz="1600" dirty="0">
              <a:solidFill>
                <a:srgbClr val="0000F4"/>
              </a:solidFill>
              <a:latin typeface="TIM Sans" panose="00000500000000000000"/>
            </a:endParaRPr>
          </a:p>
          <a:p>
            <a:r>
              <a:rPr lang="pt-BR" sz="1600" dirty="0">
                <a:solidFill>
                  <a:srgbClr val="0000F4"/>
                </a:solidFill>
                <a:latin typeface="TIM Sans" panose="00000500000000000000"/>
              </a:rPr>
              <a:t>O motivador “Baixa Pagamento Sistema” apresenta uma das maiores variações comparado ao grupo </a:t>
            </a:r>
            <a:r>
              <a:rPr lang="pt-BR" sz="1600" dirty="0" err="1">
                <a:solidFill>
                  <a:srgbClr val="0000F4"/>
                </a:solidFill>
                <a:latin typeface="TIM Sans" panose="00000500000000000000"/>
              </a:rPr>
              <a:t>Pos</a:t>
            </a:r>
            <a:r>
              <a:rPr lang="pt-BR" sz="1600" dirty="0">
                <a:solidFill>
                  <a:srgbClr val="0000F4"/>
                </a:solidFill>
                <a:latin typeface="TIM Sans" panose="00000500000000000000"/>
              </a:rPr>
              <a:t> Puro por completo</a:t>
            </a:r>
          </a:p>
          <a:p>
            <a:endParaRPr lang="pt-BR" sz="1600" dirty="0">
              <a:solidFill>
                <a:srgbClr val="0000F4"/>
              </a:solidFill>
              <a:latin typeface="TIM Sans" panose="00000500000000000000"/>
            </a:endParaRP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C278BB49-C74E-4E5E-8738-355069BFBA9B}"/>
              </a:ext>
            </a:extLst>
          </p:cNvPr>
          <p:cNvGrpSpPr/>
          <p:nvPr/>
        </p:nvGrpSpPr>
        <p:grpSpPr>
          <a:xfrm>
            <a:off x="8278008" y="1581151"/>
            <a:ext cx="860215" cy="763461"/>
            <a:chOff x="8232985" y="1518717"/>
            <a:chExt cx="1061800" cy="983306"/>
          </a:xfrm>
        </p:grpSpPr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24358FC5-3926-40D5-88EC-99E68C159A8B}"/>
                </a:ext>
              </a:extLst>
            </p:cNvPr>
            <p:cNvSpPr txBox="1"/>
            <p:nvPr/>
          </p:nvSpPr>
          <p:spPr>
            <a:xfrm>
              <a:off x="8232985" y="2145260"/>
              <a:ext cx="1061800" cy="35676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endParaRPr lang="pt-BR" sz="1200">
                <a:solidFill>
                  <a:srgbClr val="0000FF"/>
                </a:solidFill>
                <a:latin typeface="TIM Sans" pitchFamily="2" charset="77"/>
              </a:endParaRPr>
            </a:p>
          </p:txBody>
        </p:sp>
        <p:pic>
          <p:nvPicPr>
            <p:cNvPr id="33" name="Picture 32">
              <a:extLst>
                <a:ext uri="{FF2B5EF4-FFF2-40B4-BE49-F238E27FC236}">
                  <a16:creationId xmlns:a16="http://schemas.microsoft.com/office/drawing/2014/main" id="{98FB4475-14B9-4D8D-8E15-F340EB0C4FB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8484569" y="1518717"/>
              <a:ext cx="587997" cy="587997"/>
            </a:xfrm>
            <a:prstGeom prst="rect">
              <a:avLst/>
            </a:prstGeom>
          </p:spPr>
        </p:pic>
      </p:grpSp>
      <p:sp>
        <p:nvSpPr>
          <p:cNvPr id="35" name="Rectangle 34">
            <a:extLst>
              <a:ext uri="{FF2B5EF4-FFF2-40B4-BE49-F238E27FC236}">
                <a16:creationId xmlns:a16="http://schemas.microsoft.com/office/drawing/2014/main" id="{C0F43DCB-5C89-4D91-A889-20F86424AE15}"/>
              </a:ext>
            </a:extLst>
          </p:cNvPr>
          <p:cNvSpPr/>
          <p:nvPr/>
        </p:nvSpPr>
        <p:spPr>
          <a:xfrm>
            <a:off x="4400551" y="2632775"/>
            <a:ext cx="1243472" cy="3873947"/>
          </a:xfrm>
          <a:prstGeom prst="rect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cxnSp>
        <p:nvCxnSpPr>
          <p:cNvPr id="37" name="Straight Arrow Connector 36">
            <a:extLst>
              <a:ext uri="{FF2B5EF4-FFF2-40B4-BE49-F238E27FC236}">
                <a16:creationId xmlns:a16="http://schemas.microsoft.com/office/drawing/2014/main" id="{88231F3B-3BC4-4E09-B99B-07A9C791E2B6}"/>
              </a:ext>
            </a:extLst>
          </p:cNvPr>
          <p:cNvCxnSpPr/>
          <p:nvPr/>
        </p:nvCxnSpPr>
        <p:spPr>
          <a:xfrm>
            <a:off x="7536246" y="4168994"/>
            <a:ext cx="0" cy="265088"/>
          </a:xfrm>
          <a:prstGeom prst="straightConnector1">
            <a:avLst/>
          </a:prstGeom>
          <a:ln w="190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>
            <a:extLst>
              <a:ext uri="{FF2B5EF4-FFF2-40B4-BE49-F238E27FC236}">
                <a16:creationId xmlns:a16="http://schemas.microsoft.com/office/drawing/2014/main" id="{B8C0BA5B-0672-4F65-9DAA-9689B23B5635}"/>
              </a:ext>
            </a:extLst>
          </p:cNvPr>
          <p:cNvCxnSpPr>
            <a:cxnSpLocks/>
          </p:cNvCxnSpPr>
          <p:nvPr/>
        </p:nvCxnSpPr>
        <p:spPr>
          <a:xfrm flipV="1">
            <a:off x="7536246" y="2566264"/>
            <a:ext cx="0" cy="261019"/>
          </a:xfrm>
          <a:prstGeom prst="straightConnector1">
            <a:avLst/>
          </a:prstGeom>
          <a:ln w="19050">
            <a:solidFill>
              <a:schemeClr val="accent6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Arrow Connector 38">
            <a:extLst>
              <a:ext uri="{FF2B5EF4-FFF2-40B4-BE49-F238E27FC236}">
                <a16:creationId xmlns:a16="http://schemas.microsoft.com/office/drawing/2014/main" id="{70FB1B02-135D-4D3E-9F22-31970C7631F8}"/>
              </a:ext>
            </a:extLst>
          </p:cNvPr>
          <p:cNvCxnSpPr>
            <a:cxnSpLocks/>
          </p:cNvCxnSpPr>
          <p:nvPr/>
        </p:nvCxnSpPr>
        <p:spPr>
          <a:xfrm flipV="1">
            <a:off x="7536246" y="3233737"/>
            <a:ext cx="0" cy="305095"/>
          </a:xfrm>
          <a:prstGeom prst="straightConnector1">
            <a:avLst/>
          </a:prstGeom>
          <a:ln w="19050">
            <a:solidFill>
              <a:schemeClr val="accent6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Connector: Curved 39">
            <a:extLst>
              <a:ext uri="{FF2B5EF4-FFF2-40B4-BE49-F238E27FC236}">
                <a16:creationId xmlns:a16="http://schemas.microsoft.com/office/drawing/2014/main" id="{500AB215-88A8-4292-BE6C-FC967281E721}"/>
              </a:ext>
            </a:extLst>
          </p:cNvPr>
          <p:cNvCxnSpPr>
            <a:cxnSpLocks/>
            <a:stCxn id="35" idx="0"/>
            <a:endCxn id="41" idx="1"/>
          </p:cNvCxnSpPr>
          <p:nvPr/>
        </p:nvCxnSpPr>
        <p:spPr>
          <a:xfrm rot="5400000" flipH="1" flipV="1">
            <a:off x="4976231" y="2175225"/>
            <a:ext cx="503606" cy="411494"/>
          </a:xfrm>
          <a:prstGeom prst="curvedConnector2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Box 40">
            <a:extLst>
              <a:ext uri="{FF2B5EF4-FFF2-40B4-BE49-F238E27FC236}">
                <a16:creationId xmlns:a16="http://schemas.microsoft.com/office/drawing/2014/main" id="{777E9F96-6F58-47F0-A102-5387691D343C}"/>
              </a:ext>
            </a:extLst>
          </p:cNvPr>
          <p:cNvSpPr txBox="1"/>
          <p:nvPr/>
        </p:nvSpPr>
        <p:spPr>
          <a:xfrm>
            <a:off x="5433781" y="1913725"/>
            <a:ext cx="1624043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1100">
                <a:latin typeface="TIM Sans" panose="00000500000000000000"/>
              </a:rPr>
              <a:t>Clientes deixaram de pagar suas faturas</a:t>
            </a:r>
          </a:p>
        </p:txBody>
      </p:sp>
    </p:spTree>
    <p:extLst>
      <p:ext uri="{BB962C8B-B14F-4D97-AF65-F5344CB8AC3E}">
        <p14:creationId xmlns:p14="http://schemas.microsoft.com/office/powerpoint/2010/main" val="339795960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Box 16">
            <a:extLst>
              <a:ext uri="{FF2B5EF4-FFF2-40B4-BE49-F238E27FC236}">
                <a16:creationId xmlns:a16="http://schemas.microsoft.com/office/drawing/2014/main" id="{322FD4D9-F6EB-4F03-BDCC-AAA301844F23}"/>
              </a:ext>
            </a:extLst>
          </p:cNvPr>
          <p:cNvSpPr txBox="1"/>
          <p:nvPr/>
        </p:nvSpPr>
        <p:spPr>
          <a:xfrm>
            <a:off x="643466" y="471267"/>
            <a:ext cx="6532033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pt-BR"/>
            </a:defPPr>
            <a:lvl1pPr>
              <a:defRPr b="1" i="0">
                <a:solidFill>
                  <a:srgbClr val="004691"/>
                </a:solidFill>
                <a:effectLst/>
                <a:latin typeface="TIM Sans" panose="00000500000000000000"/>
              </a:defRPr>
            </a:lvl1pPr>
          </a:lstStyle>
          <a:p>
            <a:r>
              <a:rPr lang="pt-BR" sz="2800" dirty="0">
                <a:solidFill>
                  <a:srgbClr val="0000F4"/>
                </a:solidFill>
                <a:latin typeface="TIM Sans" panose="00000500000000000000" charset="0"/>
              </a:rPr>
              <a:t>Análise</a:t>
            </a:r>
            <a:r>
              <a:rPr lang="pt-BR" sz="2800" dirty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pt-BR" sz="2800" dirty="0">
                <a:solidFill>
                  <a:srgbClr val="0000F4"/>
                </a:solidFill>
                <a:latin typeface="TIM Sans" panose="00000500000000000000" charset="0"/>
              </a:rPr>
              <a:t>Motivadores (Pós Puro)</a:t>
            </a: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FC4B7235-CFC3-401F-9617-782E496698B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rot="21162860">
            <a:off x="4778057" y="3881171"/>
            <a:ext cx="380351" cy="521625"/>
          </a:xfrm>
          <a:prstGeom prst="rect">
            <a:avLst/>
          </a:prstGeom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F5A8E811-7BCA-4DF2-B7BE-97A49F86F38A}"/>
              </a:ext>
            </a:extLst>
          </p:cNvPr>
          <p:cNvSpPr txBox="1"/>
          <p:nvPr/>
        </p:nvSpPr>
        <p:spPr>
          <a:xfrm>
            <a:off x="479425" y="1331022"/>
            <a:ext cx="6213606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pt-BR" sz="1600" dirty="0">
                <a:solidFill>
                  <a:srgbClr val="0000F4"/>
                </a:solidFill>
                <a:latin typeface="TIM Sans" panose="00000500000000000000" charset="0"/>
              </a:rPr>
              <a:t>Aprofundamento </a:t>
            </a:r>
            <a:r>
              <a:rPr lang="pt-BR" sz="1600" b="1" dirty="0">
                <a:solidFill>
                  <a:schemeClr val="accent5"/>
                </a:solidFill>
                <a:latin typeface="TIM Sans" panose="00000500000000000000" charset="0"/>
              </a:rPr>
              <a:t>Baixa Pagamento Sistema </a:t>
            </a:r>
            <a:r>
              <a:rPr lang="pt-BR" sz="1600" dirty="0">
                <a:solidFill>
                  <a:srgbClr val="0000F4"/>
                </a:solidFill>
                <a:latin typeface="TIM Sans" panose="00000500000000000000" charset="0"/>
              </a:rPr>
              <a:t>– </a:t>
            </a:r>
            <a:r>
              <a:rPr lang="pt-BR" sz="1600" dirty="0" err="1">
                <a:solidFill>
                  <a:srgbClr val="0000F4"/>
                </a:solidFill>
                <a:latin typeface="TIM Sans" panose="00000500000000000000" charset="0"/>
              </a:rPr>
              <a:t>Churn</a:t>
            </a:r>
            <a:r>
              <a:rPr lang="pt-BR" sz="1600" dirty="0">
                <a:solidFill>
                  <a:srgbClr val="0000F4"/>
                </a:solidFill>
                <a:latin typeface="TIM Sans" panose="00000500000000000000" charset="0"/>
              </a:rPr>
              <a:t> Involuntário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0787E5FE-8D8B-4E8E-864E-E862D5482934}"/>
              </a:ext>
            </a:extLst>
          </p:cNvPr>
          <p:cNvSpPr txBox="1"/>
          <p:nvPr/>
        </p:nvSpPr>
        <p:spPr>
          <a:xfrm>
            <a:off x="561445" y="4141983"/>
            <a:ext cx="4488815" cy="13849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1200" dirty="0">
                <a:latin typeface="TIM Sans" panose="00000500000000000000" charset="0"/>
              </a:rPr>
              <a:t>Esses são os principais motivadores ditos juntos com “Baixa Pagamento Sistema” .</a:t>
            </a:r>
          </a:p>
          <a:p>
            <a:endParaRPr lang="pt-BR" sz="1200" dirty="0">
              <a:latin typeface="TIM Sans" panose="00000500000000000000" charset="0"/>
            </a:endParaRPr>
          </a:p>
          <a:p>
            <a:r>
              <a:rPr lang="pt-BR" sz="1200" dirty="0">
                <a:latin typeface="TIM Sans" panose="00000500000000000000" charset="0"/>
              </a:rPr>
              <a:t>Interpretação:</a:t>
            </a:r>
          </a:p>
          <a:p>
            <a:r>
              <a:rPr lang="pt-BR" sz="1200" dirty="0">
                <a:latin typeface="TIM Sans" panose="00000500000000000000" charset="0"/>
              </a:rPr>
              <a:t>Em dezembro de 2022, 19.7% das chamadas em que o cliente fala sobre “Baixa Pagamento Sistema” ele também fala de “Alterar Dados Cadastrais”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EBE64CE4-6F7D-4261-9167-2495D3DC51A3}"/>
              </a:ext>
            </a:extLst>
          </p:cNvPr>
          <p:cNvSpPr txBox="1"/>
          <p:nvPr/>
        </p:nvSpPr>
        <p:spPr>
          <a:xfrm>
            <a:off x="561445" y="1910079"/>
            <a:ext cx="4324774" cy="2923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1300" dirty="0">
                <a:solidFill>
                  <a:srgbClr val="0000F4"/>
                </a:solidFill>
                <a:latin typeface="TIM Sans" panose="00000500000000000000" charset="0"/>
              </a:rPr>
              <a:t>Motivadores ditos Juntos</a:t>
            </a:r>
            <a:endParaRPr lang="pt-BR" sz="1300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A9C4DBC2-B76B-4FBB-89E4-131DD7BAF9EC}"/>
              </a:ext>
            </a:extLst>
          </p:cNvPr>
          <p:cNvSpPr/>
          <p:nvPr/>
        </p:nvSpPr>
        <p:spPr>
          <a:xfrm>
            <a:off x="10081586" y="471267"/>
            <a:ext cx="1524000" cy="859755"/>
          </a:xfrm>
          <a:prstGeom prst="rect">
            <a:avLst/>
          </a:prstGeom>
          <a:solidFill>
            <a:srgbClr val="0000F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369 Chamadas</a:t>
            </a:r>
          </a:p>
          <a:p>
            <a:pPr algn="ctr"/>
            <a:r>
              <a:rPr lang="pt-BR" dirty="0"/>
              <a:t>(17%)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86DFF73C-172C-449C-B028-B27869E41B23}"/>
              </a:ext>
            </a:extLst>
          </p:cNvPr>
          <p:cNvCxnSpPr>
            <a:cxnSpLocks/>
          </p:cNvCxnSpPr>
          <p:nvPr/>
        </p:nvCxnSpPr>
        <p:spPr>
          <a:xfrm>
            <a:off x="3506915" y="2078525"/>
            <a:ext cx="0" cy="1906757"/>
          </a:xfrm>
          <a:prstGeom prst="line">
            <a:avLst/>
          </a:prstGeom>
          <a:ln>
            <a:solidFill>
              <a:srgbClr val="0000F4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FF1DD307-F33A-446E-BFAE-8B48B74ACF5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38181082"/>
              </p:ext>
            </p:extLst>
          </p:nvPr>
        </p:nvGraphicFramePr>
        <p:xfrm>
          <a:off x="643466" y="2244789"/>
          <a:ext cx="4137234" cy="1502641"/>
        </p:xfrm>
        <a:graphic>
          <a:graphicData uri="http://schemas.openxmlformats.org/drawingml/2006/table">
            <a:tbl>
              <a:tblPr>
                <a:tableStyleId>{3B4B98B0-60AC-42C2-AFA5-B58CD77FA1E5}</a:tableStyleId>
              </a:tblPr>
              <a:tblGrid>
                <a:gridCol w="1583058">
                  <a:extLst>
                    <a:ext uri="{9D8B030D-6E8A-4147-A177-3AD203B41FA5}">
                      <a16:colId xmlns:a16="http://schemas.microsoft.com/office/drawing/2014/main" val="3040784642"/>
                    </a:ext>
                  </a:extLst>
                </a:gridCol>
                <a:gridCol w="638544">
                  <a:extLst>
                    <a:ext uri="{9D8B030D-6E8A-4147-A177-3AD203B41FA5}">
                      <a16:colId xmlns:a16="http://schemas.microsoft.com/office/drawing/2014/main" val="3100174353"/>
                    </a:ext>
                  </a:extLst>
                </a:gridCol>
                <a:gridCol w="638544">
                  <a:extLst>
                    <a:ext uri="{9D8B030D-6E8A-4147-A177-3AD203B41FA5}">
                      <a16:colId xmlns:a16="http://schemas.microsoft.com/office/drawing/2014/main" val="3174853663"/>
                    </a:ext>
                  </a:extLst>
                </a:gridCol>
                <a:gridCol w="638544">
                  <a:extLst>
                    <a:ext uri="{9D8B030D-6E8A-4147-A177-3AD203B41FA5}">
                      <a16:colId xmlns:a16="http://schemas.microsoft.com/office/drawing/2014/main" val="3467813187"/>
                    </a:ext>
                  </a:extLst>
                </a:gridCol>
                <a:gridCol w="638544">
                  <a:extLst>
                    <a:ext uri="{9D8B030D-6E8A-4147-A177-3AD203B41FA5}">
                      <a16:colId xmlns:a16="http://schemas.microsoft.com/office/drawing/2014/main" val="2530262001"/>
                    </a:ext>
                  </a:extLst>
                </a:gridCol>
              </a:tblGrid>
              <a:tr h="214663">
                <a:tc>
                  <a:txBody>
                    <a:bodyPr/>
                    <a:lstStyle/>
                    <a:p>
                      <a:pPr algn="l" fontAlgn="b"/>
                      <a:endParaRPr lang="pt-B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T w="12700" cap="flat" cmpd="sng" algn="ctr">
                      <a:solidFill>
                        <a:srgbClr val="0000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Set/22</a:t>
                      </a:r>
                      <a:endParaRPr lang="pt-B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T w="12700" cap="flat" cmpd="sng" algn="ctr">
                      <a:solidFill>
                        <a:srgbClr val="0000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100" u="none" strike="noStrike" dirty="0">
                          <a:effectLst/>
                        </a:rPr>
                        <a:t>Out/22</a:t>
                      </a:r>
                      <a:endParaRPr lang="pt-B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T w="12700" cap="flat" cmpd="sng" algn="ctr">
                      <a:solidFill>
                        <a:srgbClr val="0000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100" u="none" strike="noStrike" dirty="0">
                          <a:effectLst/>
                        </a:rPr>
                        <a:t>Dez/22</a:t>
                      </a:r>
                      <a:endParaRPr lang="pt-B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T w="12700" cap="flat" cmpd="sng" algn="ctr">
                      <a:solidFill>
                        <a:srgbClr val="0000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100" u="none" strike="noStrike" dirty="0">
                          <a:effectLst/>
                        </a:rPr>
                        <a:t>Jan/23</a:t>
                      </a:r>
                      <a:endParaRPr lang="pt-B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T w="12700" cap="flat" cmpd="sng" algn="ctr">
                      <a:solidFill>
                        <a:srgbClr val="0000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3937424558"/>
                  </a:ext>
                </a:extLst>
              </a:tr>
              <a:tr h="214663">
                <a:tc>
                  <a:txBody>
                    <a:bodyPr/>
                    <a:lstStyle/>
                    <a:p>
                      <a:pPr algn="l" fontAlgn="b"/>
                      <a:r>
                        <a:rPr lang="pt-BR" sz="1100" u="none" strike="noStrike">
                          <a:effectLst/>
                        </a:rPr>
                        <a:t>Alterar Dados Cadastrais</a:t>
                      </a:r>
                      <a:endParaRPr lang="pt-B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100" u="none" strike="noStrike">
                          <a:effectLst/>
                        </a:rPr>
                        <a:t>14,9%</a:t>
                      </a:r>
                      <a:endParaRPr lang="pt-B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100" u="none" strike="noStrike">
                          <a:effectLst/>
                        </a:rPr>
                        <a:t>20,7%</a:t>
                      </a:r>
                      <a:endParaRPr lang="pt-B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100" u="none" strike="noStrike">
                          <a:effectLst/>
                        </a:rPr>
                        <a:t>19,7%</a:t>
                      </a:r>
                      <a:endParaRPr lang="pt-B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100" u="none" strike="noStrike">
                          <a:effectLst/>
                        </a:rPr>
                        <a:t>8,3%</a:t>
                      </a:r>
                      <a:endParaRPr lang="pt-B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1097415710"/>
                  </a:ext>
                </a:extLst>
              </a:tr>
              <a:tr h="214663">
                <a:tc>
                  <a:txBody>
                    <a:bodyPr/>
                    <a:lstStyle/>
                    <a:p>
                      <a:pPr algn="l" fontAlgn="b"/>
                      <a:r>
                        <a:rPr lang="pt-BR" sz="1100" u="none" strike="noStrike">
                          <a:effectLst/>
                        </a:rPr>
                        <a:t>Cancelamento</a:t>
                      </a:r>
                      <a:endParaRPr lang="pt-B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100" u="none" strike="noStrike">
                          <a:effectLst/>
                        </a:rPr>
                        <a:t>17,9%</a:t>
                      </a:r>
                      <a:endParaRPr lang="pt-B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100" u="none" strike="noStrike">
                          <a:effectLst/>
                        </a:rPr>
                        <a:t>18,4%</a:t>
                      </a:r>
                      <a:endParaRPr lang="pt-B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100" u="none" strike="noStrike">
                          <a:effectLst/>
                        </a:rPr>
                        <a:t>22,4%</a:t>
                      </a:r>
                      <a:endParaRPr lang="pt-B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100" u="none" strike="noStrike">
                          <a:effectLst/>
                        </a:rPr>
                        <a:t>20,8%</a:t>
                      </a:r>
                      <a:endParaRPr lang="pt-B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899354995"/>
                  </a:ext>
                </a:extLst>
              </a:tr>
              <a:tr h="214663">
                <a:tc>
                  <a:txBody>
                    <a:bodyPr/>
                    <a:lstStyle/>
                    <a:p>
                      <a:pPr algn="l" fontAlgn="b"/>
                      <a:r>
                        <a:rPr lang="pt-BR" sz="1100" u="none" strike="noStrike">
                          <a:effectLst/>
                        </a:rPr>
                        <a:t>Contestação de Conta</a:t>
                      </a:r>
                      <a:endParaRPr lang="pt-B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100" u="none" strike="noStrike">
                          <a:effectLst/>
                        </a:rPr>
                        <a:t>25,4%</a:t>
                      </a:r>
                      <a:endParaRPr lang="pt-B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100" u="none" strike="noStrike">
                          <a:effectLst/>
                        </a:rPr>
                        <a:t>14,9%</a:t>
                      </a:r>
                      <a:endParaRPr lang="pt-B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100" u="none" strike="noStrike">
                          <a:effectLst/>
                        </a:rPr>
                        <a:t>18,4%</a:t>
                      </a:r>
                      <a:endParaRPr lang="pt-B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100" u="none" strike="noStrike">
                          <a:effectLst/>
                        </a:rPr>
                        <a:t>8,3%</a:t>
                      </a:r>
                      <a:endParaRPr lang="pt-B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802308465"/>
                  </a:ext>
                </a:extLst>
              </a:tr>
              <a:tr h="214663">
                <a:tc>
                  <a:txBody>
                    <a:bodyPr/>
                    <a:lstStyle/>
                    <a:p>
                      <a:pPr algn="l" fontAlgn="b"/>
                      <a:r>
                        <a:rPr lang="pt-BR" sz="1100" u="none" strike="noStrike">
                          <a:effectLst/>
                        </a:rPr>
                        <a:t>Desbloqueio Linha</a:t>
                      </a:r>
                      <a:endParaRPr lang="pt-B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100" u="none" strike="noStrike">
                          <a:effectLst/>
                        </a:rPr>
                        <a:t>22,4%</a:t>
                      </a:r>
                      <a:endParaRPr lang="pt-B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100" u="none" strike="noStrike">
                          <a:effectLst/>
                        </a:rPr>
                        <a:t>13,8%</a:t>
                      </a:r>
                      <a:endParaRPr lang="pt-B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100" u="none" strike="noStrike">
                          <a:effectLst/>
                        </a:rPr>
                        <a:t>25,0%</a:t>
                      </a:r>
                      <a:endParaRPr lang="pt-B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100" u="none" strike="noStrike">
                          <a:effectLst/>
                        </a:rPr>
                        <a:t>18,8%</a:t>
                      </a:r>
                      <a:endParaRPr lang="pt-B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3720590105"/>
                  </a:ext>
                </a:extLst>
              </a:tr>
              <a:tr h="214663">
                <a:tc>
                  <a:txBody>
                    <a:bodyPr/>
                    <a:lstStyle/>
                    <a:p>
                      <a:pPr algn="l" fontAlgn="b"/>
                      <a:r>
                        <a:rPr lang="pt-BR" sz="1100" u="none" strike="noStrike">
                          <a:effectLst/>
                        </a:rPr>
                        <a:t>Parcelamento Fatura</a:t>
                      </a:r>
                      <a:endParaRPr lang="pt-B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100" u="none" strike="noStrike">
                          <a:effectLst/>
                        </a:rPr>
                        <a:t>20,9%</a:t>
                      </a:r>
                      <a:endParaRPr lang="pt-B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100" u="none" strike="noStrike">
                          <a:effectLst/>
                        </a:rPr>
                        <a:t>16,1%</a:t>
                      </a:r>
                      <a:endParaRPr lang="pt-B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100" u="none" strike="noStrike">
                          <a:effectLst/>
                        </a:rPr>
                        <a:t>21,1%</a:t>
                      </a:r>
                      <a:endParaRPr lang="pt-B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100" u="none" strike="noStrike">
                          <a:effectLst/>
                        </a:rPr>
                        <a:t>33,3%</a:t>
                      </a:r>
                      <a:endParaRPr lang="pt-B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3532387696"/>
                  </a:ext>
                </a:extLst>
              </a:tr>
              <a:tr h="214663">
                <a:tc>
                  <a:txBody>
                    <a:bodyPr/>
                    <a:lstStyle/>
                    <a:p>
                      <a:pPr algn="l" fontAlgn="b"/>
                      <a:r>
                        <a:rPr lang="pt-BR" sz="1100" u="none" strike="noStrike">
                          <a:effectLst/>
                        </a:rPr>
                        <a:t>Problema Técnico</a:t>
                      </a:r>
                      <a:endParaRPr lang="pt-B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B w="12700" cap="flat" cmpd="sng" algn="ctr">
                      <a:solidFill>
                        <a:srgbClr val="0000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100" u="none" strike="noStrike">
                          <a:effectLst/>
                        </a:rPr>
                        <a:t>20,9%</a:t>
                      </a:r>
                      <a:endParaRPr lang="pt-B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B w="12700" cap="flat" cmpd="sng" algn="ctr">
                      <a:solidFill>
                        <a:srgbClr val="0000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100" u="none" strike="noStrike">
                          <a:effectLst/>
                        </a:rPr>
                        <a:t>14,9%</a:t>
                      </a:r>
                      <a:endParaRPr lang="pt-B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B w="12700" cap="flat" cmpd="sng" algn="ctr">
                      <a:solidFill>
                        <a:srgbClr val="0000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100" u="none" strike="noStrike" dirty="0">
                          <a:effectLst/>
                        </a:rPr>
                        <a:t>11,8%</a:t>
                      </a:r>
                      <a:endParaRPr lang="pt-B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B w="12700" cap="flat" cmpd="sng" algn="ctr">
                      <a:solidFill>
                        <a:srgbClr val="0000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100" u="none" strike="noStrike" dirty="0">
                          <a:effectLst/>
                        </a:rPr>
                        <a:t>16,7%</a:t>
                      </a:r>
                      <a:endParaRPr lang="pt-B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B w="12700" cap="flat" cmpd="sng" algn="ctr">
                      <a:solidFill>
                        <a:srgbClr val="0000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47268668"/>
                  </a:ext>
                </a:extLst>
              </a:tr>
            </a:tbl>
          </a:graphicData>
        </a:graphic>
      </p:graphicFrame>
      <p:sp>
        <p:nvSpPr>
          <p:cNvPr id="14" name="TextBox 13">
            <a:extLst>
              <a:ext uri="{FF2B5EF4-FFF2-40B4-BE49-F238E27FC236}">
                <a16:creationId xmlns:a16="http://schemas.microsoft.com/office/drawing/2014/main" id="{4757D79B-B0CD-4CA0-80BC-F4B1F07E45E5}"/>
              </a:ext>
            </a:extLst>
          </p:cNvPr>
          <p:cNvSpPr txBox="1"/>
          <p:nvPr/>
        </p:nvSpPr>
        <p:spPr>
          <a:xfrm>
            <a:off x="6941925" y="1910079"/>
            <a:ext cx="4324774" cy="2923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1300" dirty="0" err="1">
                <a:solidFill>
                  <a:srgbClr val="0000F4"/>
                </a:solidFill>
                <a:latin typeface="TIM Sans" panose="00000500000000000000" charset="0"/>
              </a:rPr>
              <a:t>Submotivadores</a:t>
            </a:r>
            <a:endParaRPr lang="pt-BR" sz="1300" dirty="0"/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3F418F98-EA68-429C-A403-916BC6B0960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71691357"/>
              </p:ext>
            </p:extLst>
          </p:nvPr>
        </p:nvGraphicFramePr>
        <p:xfrm>
          <a:off x="7001934" y="2244789"/>
          <a:ext cx="4546600" cy="1502641"/>
        </p:xfrm>
        <a:graphic>
          <a:graphicData uri="http://schemas.openxmlformats.org/drawingml/2006/table">
            <a:tbl>
              <a:tblPr>
                <a:tableStyleId>{9D7B26C5-4107-4FEC-AEDC-1716B250A1EF}</a:tableStyleId>
              </a:tblPr>
              <a:tblGrid>
                <a:gridCol w="2108200">
                  <a:extLst>
                    <a:ext uri="{9D8B030D-6E8A-4147-A177-3AD203B41FA5}">
                      <a16:colId xmlns:a16="http://schemas.microsoft.com/office/drawing/2014/main" val="3094883561"/>
                    </a:ext>
                  </a:extLst>
                </a:gridCol>
                <a:gridCol w="609600">
                  <a:extLst>
                    <a:ext uri="{9D8B030D-6E8A-4147-A177-3AD203B41FA5}">
                      <a16:colId xmlns:a16="http://schemas.microsoft.com/office/drawing/2014/main" val="2970335752"/>
                    </a:ext>
                  </a:extLst>
                </a:gridCol>
                <a:gridCol w="609600">
                  <a:extLst>
                    <a:ext uri="{9D8B030D-6E8A-4147-A177-3AD203B41FA5}">
                      <a16:colId xmlns:a16="http://schemas.microsoft.com/office/drawing/2014/main" val="1406886696"/>
                    </a:ext>
                  </a:extLst>
                </a:gridCol>
                <a:gridCol w="609600">
                  <a:extLst>
                    <a:ext uri="{9D8B030D-6E8A-4147-A177-3AD203B41FA5}">
                      <a16:colId xmlns:a16="http://schemas.microsoft.com/office/drawing/2014/main" val="1797085674"/>
                    </a:ext>
                  </a:extLst>
                </a:gridCol>
                <a:gridCol w="609600">
                  <a:extLst>
                    <a:ext uri="{9D8B030D-6E8A-4147-A177-3AD203B41FA5}">
                      <a16:colId xmlns:a16="http://schemas.microsoft.com/office/drawing/2014/main" val="3171752344"/>
                    </a:ext>
                  </a:extLst>
                </a:gridCol>
              </a:tblGrid>
              <a:tr h="228868">
                <a:tc>
                  <a:txBody>
                    <a:bodyPr/>
                    <a:lstStyle/>
                    <a:p>
                      <a:pPr algn="l" fontAlgn="b"/>
                      <a:endParaRPr lang="pt-B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T w="12700" cap="flat" cmpd="sng" algn="ctr">
                      <a:solidFill>
                        <a:srgbClr val="0000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Set/22</a:t>
                      </a:r>
                      <a:endParaRPr lang="pt-B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T w="12700" cap="flat" cmpd="sng" algn="ctr">
                      <a:solidFill>
                        <a:srgbClr val="0000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100" u="none" strike="noStrike" dirty="0">
                          <a:effectLst/>
                        </a:rPr>
                        <a:t>Out/22</a:t>
                      </a:r>
                      <a:endParaRPr lang="pt-B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T w="12700" cap="flat" cmpd="sng" algn="ctr">
                      <a:solidFill>
                        <a:srgbClr val="0000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100" u="none" strike="noStrike" dirty="0">
                          <a:effectLst/>
                        </a:rPr>
                        <a:t>Dez/22</a:t>
                      </a:r>
                      <a:endParaRPr lang="pt-B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T w="12700" cap="flat" cmpd="sng" algn="ctr">
                      <a:solidFill>
                        <a:srgbClr val="0000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100" u="none" strike="noStrike" dirty="0">
                          <a:effectLst/>
                        </a:rPr>
                        <a:t>Jan/23</a:t>
                      </a:r>
                      <a:endParaRPr lang="pt-B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T w="12700" cap="flat" cmpd="sng" algn="ctr">
                      <a:solidFill>
                        <a:srgbClr val="0000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4026236052"/>
                  </a:ext>
                </a:extLst>
              </a:tr>
              <a:tr h="424591">
                <a:tc>
                  <a:txBody>
                    <a:bodyPr/>
                    <a:lstStyle/>
                    <a:p>
                      <a:pPr algn="l" fontAlgn="b"/>
                      <a:r>
                        <a:rPr lang="pt-BR" sz="1100" u="none" strike="noStrike" dirty="0">
                          <a:effectLst/>
                        </a:rPr>
                        <a:t>Informar pagamento realizado da fatura</a:t>
                      </a:r>
                      <a:endParaRPr lang="pt-B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100" u="none" strike="noStrike">
                          <a:effectLst/>
                        </a:rPr>
                        <a:t>83,1%</a:t>
                      </a:r>
                      <a:endParaRPr lang="pt-B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100" u="none" strike="noStrike">
                          <a:effectLst/>
                        </a:rPr>
                        <a:t>83,3%</a:t>
                      </a:r>
                      <a:endParaRPr lang="pt-B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100" u="none" strike="noStrike">
                          <a:effectLst/>
                        </a:rPr>
                        <a:t>88,5%</a:t>
                      </a:r>
                      <a:endParaRPr lang="pt-B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100" u="none" strike="noStrike">
                          <a:effectLst/>
                        </a:rPr>
                        <a:t>84,6%</a:t>
                      </a:r>
                      <a:endParaRPr lang="pt-B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1867164495"/>
                  </a:ext>
                </a:extLst>
              </a:tr>
              <a:tr h="424591">
                <a:tc>
                  <a:txBody>
                    <a:bodyPr/>
                    <a:lstStyle/>
                    <a:p>
                      <a:pPr algn="l" fontAlgn="b"/>
                      <a:r>
                        <a:rPr lang="pt-BR" sz="1100" u="none" strike="noStrike">
                          <a:effectLst/>
                        </a:rPr>
                        <a:t>Saber prazo para baixa de pagamento no sistema</a:t>
                      </a:r>
                      <a:endParaRPr lang="pt-B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100" u="none" strike="noStrike">
                          <a:effectLst/>
                        </a:rPr>
                        <a:t>15,5%</a:t>
                      </a:r>
                      <a:endParaRPr lang="pt-B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100" u="none" strike="noStrike">
                          <a:effectLst/>
                        </a:rPr>
                        <a:t>12,5%</a:t>
                      </a:r>
                      <a:endParaRPr lang="pt-B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100" u="none" strike="noStrike">
                          <a:effectLst/>
                        </a:rPr>
                        <a:t>11,5%</a:t>
                      </a:r>
                      <a:endParaRPr lang="pt-B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100" u="none" strike="noStrike">
                          <a:effectLst/>
                        </a:rPr>
                        <a:t>9,6%</a:t>
                      </a:r>
                      <a:endParaRPr lang="pt-B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2170908385"/>
                  </a:ext>
                </a:extLst>
              </a:tr>
              <a:tr h="424591">
                <a:tc>
                  <a:txBody>
                    <a:bodyPr/>
                    <a:lstStyle/>
                    <a:p>
                      <a:pPr algn="l" fontAlgn="b"/>
                      <a:r>
                        <a:rPr lang="pt-BR" sz="1100" u="none" strike="noStrike" dirty="0">
                          <a:effectLst/>
                        </a:rPr>
                        <a:t>Informar não baixa pós pagamento via boleto</a:t>
                      </a:r>
                      <a:endParaRPr lang="pt-B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B w="12700" cap="flat" cmpd="sng" algn="ctr">
                      <a:solidFill>
                        <a:srgbClr val="0000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100" u="none" strike="noStrike">
                          <a:effectLst/>
                        </a:rPr>
                        <a:t>0,0%</a:t>
                      </a:r>
                      <a:endParaRPr lang="pt-B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B w="12700" cap="flat" cmpd="sng" algn="ctr">
                      <a:solidFill>
                        <a:srgbClr val="0000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100" u="none" strike="noStrike">
                          <a:effectLst/>
                        </a:rPr>
                        <a:t>4,2%</a:t>
                      </a:r>
                      <a:endParaRPr lang="pt-B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B w="12700" cap="flat" cmpd="sng" algn="ctr">
                      <a:solidFill>
                        <a:srgbClr val="0000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100" u="none" strike="noStrike">
                          <a:effectLst/>
                        </a:rPr>
                        <a:t>0,0%</a:t>
                      </a:r>
                      <a:endParaRPr lang="pt-B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B w="12700" cap="flat" cmpd="sng" algn="ctr">
                      <a:solidFill>
                        <a:srgbClr val="0000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100" u="none" strike="noStrike" dirty="0">
                          <a:effectLst/>
                        </a:rPr>
                        <a:t>1,9%</a:t>
                      </a:r>
                      <a:endParaRPr lang="pt-B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B w="12700" cap="flat" cmpd="sng" algn="ctr">
                      <a:solidFill>
                        <a:srgbClr val="0000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34759206"/>
                  </a:ext>
                </a:extLst>
              </a:tr>
            </a:tbl>
          </a:graphicData>
        </a:graphic>
      </p:graphicFrame>
      <p:sp>
        <p:nvSpPr>
          <p:cNvPr id="15" name="TextBox 14">
            <a:extLst>
              <a:ext uri="{FF2B5EF4-FFF2-40B4-BE49-F238E27FC236}">
                <a16:creationId xmlns:a16="http://schemas.microsoft.com/office/drawing/2014/main" id="{DFE4F3D2-1E9E-4518-BEB2-FEC91956BCAC}"/>
              </a:ext>
            </a:extLst>
          </p:cNvPr>
          <p:cNvSpPr txBox="1"/>
          <p:nvPr/>
        </p:nvSpPr>
        <p:spPr>
          <a:xfrm>
            <a:off x="6992723" y="4141982"/>
            <a:ext cx="4488815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1200" dirty="0">
                <a:latin typeface="TIM Sans" panose="00000500000000000000" charset="0"/>
              </a:rPr>
              <a:t>Esses são </a:t>
            </a:r>
            <a:r>
              <a:rPr lang="pt-BR" sz="1200" dirty="0" err="1">
                <a:latin typeface="TIM Sans" panose="00000500000000000000" charset="0"/>
              </a:rPr>
              <a:t>submotivadores</a:t>
            </a:r>
            <a:r>
              <a:rPr lang="pt-BR" sz="1200" dirty="0">
                <a:latin typeface="TIM Sans" panose="00000500000000000000" charset="0"/>
              </a:rPr>
              <a:t> de “Baixa Pagamento Sistema” .</a:t>
            </a:r>
          </a:p>
          <a:p>
            <a:endParaRPr lang="pt-BR" sz="1200" dirty="0">
              <a:latin typeface="TIM Sans" panose="00000500000000000000" charset="0"/>
            </a:endParaRPr>
          </a:p>
          <a:p>
            <a:r>
              <a:rPr lang="pt-BR" sz="1200" dirty="0">
                <a:latin typeface="TIM Sans" panose="00000500000000000000" charset="0"/>
              </a:rPr>
              <a:t>Interpretação:</a:t>
            </a:r>
          </a:p>
          <a:p>
            <a:r>
              <a:rPr lang="pt-BR" sz="1200" dirty="0">
                <a:latin typeface="TIM Sans" panose="00000500000000000000" charset="0"/>
              </a:rPr>
              <a:t>Em setembro de 2022, 83.1% das chamadas em que o cliente fala sobre “Baixa Pagamento Sistema” tem como </a:t>
            </a:r>
            <a:r>
              <a:rPr lang="pt-BR" sz="1200" dirty="0" err="1">
                <a:latin typeface="TIM Sans" panose="00000500000000000000" charset="0"/>
              </a:rPr>
              <a:t>submotivador</a:t>
            </a:r>
            <a:r>
              <a:rPr lang="pt-BR" sz="1200" dirty="0">
                <a:latin typeface="TIM Sans" panose="00000500000000000000" charset="0"/>
              </a:rPr>
              <a:t> </a:t>
            </a:r>
            <a:r>
              <a:rPr lang="pt-BR" sz="1200" u="none" strike="noStrike" dirty="0">
                <a:effectLst/>
              </a:rPr>
              <a:t>Informar pagamento realizado da fatura</a:t>
            </a:r>
            <a:endParaRPr lang="pt-BR" sz="1200" b="0" i="0" u="none" strike="noStrike" dirty="0">
              <a:solidFill>
                <a:srgbClr val="000000"/>
              </a:solidFill>
              <a:effectLst/>
              <a:latin typeface="Calibri" panose="020F0502020204030204" pitchFamily="34" charset="0"/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644F6739-189D-490C-8E09-4F932CEC05C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rot="21162860">
            <a:off x="10875126" y="3881170"/>
            <a:ext cx="380351" cy="5216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586190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Box 16">
            <a:extLst>
              <a:ext uri="{FF2B5EF4-FFF2-40B4-BE49-F238E27FC236}">
                <a16:creationId xmlns:a16="http://schemas.microsoft.com/office/drawing/2014/main" id="{322FD4D9-F6EB-4F03-BDCC-AAA301844F23}"/>
              </a:ext>
            </a:extLst>
          </p:cNvPr>
          <p:cNvSpPr txBox="1"/>
          <p:nvPr/>
        </p:nvSpPr>
        <p:spPr>
          <a:xfrm>
            <a:off x="643466" y="471267"/>
            <a:ext cx="6532033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pt-BR"/>
            </a:defPPr>
            <a:lvl1pPr>
              <a:defRPr b="1" i="0">
                <a:solidFill>
                  <a:srgbClr val="004691"/>
                </a:solidFill>
                <a:effectLst/>
                <a:latin typeface="TIM Sans" panose="00000500000000000000"/>
              </a:defRPr>
            </a:lvl1pPr>
          </a:lstStyle>
          <a:p>
            <a:r>
              <a:rPr lang="pt-BR" sz="2800" dirty="0">
                <a:solidFill>
                  <a:srgbClr val="0000F4"/>
                </a:solidFill>
                <a:latin typeface="TIM Sans" panose="00000500000000000000" charset="0"/>
              </a:rPr>
              <a:t>Análise</a:t>
            </a:r>
            <a:r>
              <a:rPr lang="pt-BR" sz="2800" dirty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pt-BR" sz="2800" dirty="0">
                <a:solidFill>
                  <a:srgbClr val="0000F4"/>
                </a:solidFill>
                <a:latin typeface="TIM Sans" panose="00000500000000000000" charset="0"/>
              </a:rPr>
              <a:t>Motivadores (Pós Puro)</a:t>
            </a: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FC4B7235-CFC3-401F-9617-782E496698B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rot="21162860">
            <a:off x="4696043" y="4008009"/>
            <a:ext cx="380351" cy="521625"/>
          </a:xfrm>
          <a:prstGeom prst="rect">
            <a:avLst/>
          </a:prstGeom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F5A8E811-7BCA-4DF2-B7BE-97A49F86F38A}"/>
              </a:ext>
            </a:extLst>
          </p:cNvPr>
          <p:cNvSpPr txBox="1"/>
          <p:nvPr/>
        </p:nvSpPr>
        <p:spPr>
          <a:xfrm>
            <a:off x="479425" y="1331022"/>
            <a:ext cx="6195695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pt-BR" sz="1600" dirty="0">
                <a:solidFill>
                  <a:srgbClr val="0000F4"/>
                </a:solidFill>
                <a:latin typeface="TIM Sans" panose="00000500000000000000" charset="0"/>
              </a:rPr>
              <a:t>Aprofundamento </a:t>
            </a:r>
            <a:r>
              <a:rPr lang="pt-BR" sz="1600" b="1" dirty="0">
                <a:solidFill>
                  <a:schemeClr val="accent5"/>
                </a:solidFill>
                <a:latin typeface="TIM Sans" panose="00000500000000000000" charset="0"/>
              </a:rPr>
              <a:t>Parcelamento Fatura </a:t>
            </a:r>
            <a:r>
              <a:rPr lang="pt-BR" sz="1600" dirty="0">
                <a:solidFill>
                  <a:srgbClr val="0000F4"/>
                </a:solidFill>
                <a:latin typeface="TIM Sans" panose="00000500000000000000" charset="0"/>
              </a:rPr>
              <a:t>– </a:t>
            </a:r>
            <a:r>
              <a:rPr lang="pt-BR" sz="1600" dirty="0" err="1">
                <a:solidFill>
                  <a:srgbClr val="0000F4"/>
                </a:solidFill>
                <a:latin typeface="TIM Sans" panose="00000500000000000000" charset="0"/>
              </a:rPr>
              <a:t>Churn</a:t>
            </a:r>
            <a:r>
              <a:rPr lang="pt-BR" sz="1600" dirty="0">
                <a:solidFill>
                  <a:srgbClr val="0000F4"/>
                </a:solidFill>
                <a:latin typeface="TIM Sans" panose="00000500000000000000" charset="0"/>
              </a:rPr>
              <a:t> Involuntário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0787E5FE-8D8B-4E8E-864E-E862D5482934}"/>
              </a:ext>
            </a:extLst>
          </p:cNvPr>
          <p:cNvSpPr txBox="1"/>
          <p:nvPr/>
        </p:nvSpPr>
        <p:spPr>
          <a:xfrm>
            <a:off x="479425" y="4326648"/>
            <a:ext cx="4570834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1200" dirty="0">
                <a:latin typeface="TIM Sans" panose="00000500000000000000" charset="0"/>
              </a:rPr>
              <a:t>Esses são os principais motivadores ditos juntos com “Parcelamento Fatura” .</a:t>
            </a:r>
          </a:p>
          <a:p>
            <a:endParaRPr lang="pt-BR" sz="1200" dirty="0">
              <a:latin typeface="TIM Sans" panose="00000500000000000000" charset="0"/>
            </a:endParaRPr>
          </a:p>
          <a:p>
            <a:r>
              <a:rPr lang="pt-BR" sz="1200" dirty="0">
                <a:latin typeface="TIM Sans" panose="00000500000000000000" charset="0"/>
              </a:rPr>
              <a:t>Interpretação:</a:t>
            </a:r>
          </a:p>
          <a:p>
            <a:r>
              <a:rPr lang="pt-BR" sz="1200" dirty="0">
                <a:latin typeface="TIM Sans" panose="00000500000000000000" charset="0"/>
              </a:rPr>
              <a:t>Em setembro de 2022, 11.3% das chamadas em que o cliente fala sobre “Parcelamento Fatura” ele também fala de “</a:t>
            </a:r>
            <a:r>
              <a:rPr lang="pt-BR" sz="1200" u="none" strike="noStrike" dirty="0">
                <a:effectLst/>
              </a:rPr>
              <a:t>Desbloqueio Linha</a:t>
            </a:r>
            <a:r>
              <a:rPr lang="pt-BR" sz="1200" dirty="0">
                <a:latin typeface="TIM Sans" panose="00000500000000000000" charset="0"/>
              </a:rPr>
              <a:t>”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EBE64CE4-6F7D-4261-9167-2495D3DC51A3}"/>
              </a:ext>
            </a:extLst>
          </p:cNvPr>
          <p:cNvSpPr txBox="1"/>
          <p:nvPr/>
        </p:nvSpPr>
        <p:spPr>
          <a:xfrm>
            <a:off x="561445" y="1910079"/>
            <a:ext cx="4324774" cy="2923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1300" dirty="0">
                <a:solidFill>
                  <a:srgbClr val="0000F4"/>
                </a:solidFill>
                <a:latin typeface="TIM Sans" panose="00000500000000000000" charset="0"/>
              </a:rPr>
              <a:t>Motivadores ditos Juntos</a:t>
            </a:r>
            <a:endParaRPr lang="pt-BR" sz="1300" dirty="0"/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55E9E117-81F6-41F9-BF97-B0B117706F28}"/>
              </a:ext>
            </a:extLst>
          </p:cNvPr>
          <p:cNvSpPr/>
          <p:nvPr/>
        </p:nvSpPr>
        <p:spPr>
          <a:xfrm>
            <a:off x="10081586" y="471267"/>
            <a:ext cx="1524000" cy="859755"/>
          </a:xfrm>
          <a:prstGeom prst="rect">
            <a:avLst/>
          </a:prstGeom>
          <a:solidFill>
            <a:srgbClr val="0000F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496 Chamadas</a:t>
            </a:r>
          </a:p>
          <a:p>
            <a:pPr algn="ctr"/>
            <a:r>
              <a:rPr lang="pt-BR" dirty="0"/>
              <a:t>(21%)</a:t>
            </a: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610CFB02-4DD9-441B-A551-93995A1598F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85083993"/>
              </p:ext>
            </p:extLst>
          </p:nvPr>
        </p:nvGraphicFramePr>
        <p:xfrm>
          <a:off x="643466" y="2442970"/>
          <a:ext cx="4488813" cy="1289050"/>
        </p:xfrm>
        <a:graphic>
          <a:graphicData uri="http://schemas.openxmlformats.org/drawingml/2006/table">
            <a:tbl>
              <a:tblPr>
                <a:tableStyleId>{9D7B26C5-4107-4FEC-AEDC-1716B250A1EF}</a:tableStyleId>
              </a:tblPr>
              <a:tblGrid>
                <a:gridCol w="1717585">
                  <a:extLst>
                    <a:ext uri="{9D8B030D-6E8A-4147-A177-3AD203B41FA5}">
                      <a16:colId xmlns:a16="http://schemas.microsoft.com/office/drawing/2014/main" val="430094253"/>
                    </a:ext>
                  </a:extLst>
                </a:gridCol>
                <a:gridCol w="692807">
                  <a:extLst>
                    <a:ext uri="{9D8B030D-6E8A-4147-A177-3AD203B41FA5}">
                      <a16:colId xmlns:a16="http://schemas.microsoft.com/office/drawing/2014/main" val="3256094041"/>
                    </a:ext>
                  </a:extLst>
                </a:gridCol>
                <a:gridCol w="692807">
                  <a:extLst>
                    <a:ext uri="{9D8B030D-6E8A-4147-A177-3AD203B41FA5}">
                      <a16:colId xmlns:a16="http://schemas.microsoft.com/office/drawing/2014/main" val="194487989"/>
                    </a:ext>
                  </a:extLst>
                </a:gridCol>
                <a:gridCol w="692807">
                  <a:extLst>
                    <a:ext uri="{9D8B030D-6E8A-4147-A177-3AD203B41FA5}">
                      <a16:colId xmlns:a16="http://schemas.microsoft.com/office/drawing/2014/main" val="2989211768"/>
                    </a:ext>
                  </a:extLst>
                </a:gridCol>
                <a:gridCol w="692807">
                  <a:extLst>
                    <a:ext uri="{9D8B030D-6E8A-4147-A177-3AD203B41FA5}">
                      <a16:colId xmlns:a16="http://schemas.microsoft.com/office/drawing/2014/main" val="2383616108"/>
                    </a:ext>
                  </a:extLst>
                </a:gridCol>
              </a:tblGrid>
              <a:tr h="184150">
                <a:tc>
                  <a:txBody>
                    <a:bodyPr/>
                    <a:lstStyle/>
                    <a:p>
                      <a:pPr algn="l" fontAlgn="b"/>
                      <a:endParaRPr lang="pt-B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T w="12700" cap="flat" cmpd="sng" algn="ctr">
                      <a:solidFill>
                        <a:srgbClr val="0000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Set/22</a:t>
                      </a:r>
                      <a:endParaRPr lang="pt-B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T w="12700" cap="flat" cmpd="sng" algn="ctr">
                      <a:solidFill>
                        <a:srgbClr val="0000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100" u="none" strike="noStrike" dirty="0">
                          <a:effectLst/>
                        </a:rPr>
                        <a:t>Out/22</a:t>
                      </a:r>
                      <a:endParaRPr lang="pt-B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T w="12700" cap="flat" cmpd="sng" algn="ctr">
                      <a:solidFill>
                        <a:srgbClr val="0000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100" u="none" strike="noStrike" dirty="0">
                          <a:effectLst/>
                        </a:rPr>
                        <a:t>Dez/22</a:t>
                      </a:r>
                      <a:endParaRPr lang="pt-B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T w="12700" cap="flat" cmpd="sng" algn="ctr">
                      <a:solidFill>
                        <a:srgbClr val="0000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100" u="none" strike="noStrike" dirty="0">
                          <a:effectLst/>
                        </a:rPr>
                        <a:t>Jan/23</a:t>
                      </a:r>
                      <a:endParaRPr lang="pt-B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T w="12700" cap="flat" cmpd="sng" algn="ctr">
                      <a:solidFill>
                        <a:srgbClr val="0000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518683258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l" fontAlgn="b"/>
                      <a:r>
                        <a:rPr lang="pt-BR" sz="1100" u="none" strike="noStrike">
                          <a:effectLst/>
                        </a:rPr>
                        <a:t>Alterar Dados Cadastrais</a:t>
                      </a:r>
                      <a:endParaRPr lang="pt-B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100" u="none" strike="noStrike">
                          <a:effectLst/>
                        </a:rPr>
                        <a:t>14,5%</a:t>
                      </a:r>
                      <a:endParaRPr lang="pt-B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100" u="none" strike="noStrike">
                          <a:effectLst/>
                        </a:rPr>
                        <a:t>11,7%</a:t>
                      </a:r>
                      <a:endParaRPr lang="pt-B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100" u="none" strike="noStrike">
                          <a:effectLst/>
                        </a:rPr>
                        <a:t>18,6%</a:t>
                      </a:r>
                      <a:endParaRPr lang="pt-B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100" u="none" strike="noStrike">
                          <a:effectLst/>
                        </a:rPr>
                        <a:t>13,3%</a:t>
                      </a:r>
                      <a:endParaRPr lang="pt-B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1391606918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l" fontAlgn="b"/>
                      <a:r>
                        <a:rPr lang="pt-BR" sz="1100" u="none" strike="noStrike">
                          <a:effectLst/>
                        </a:rPr>
                        <a:t>Cancelamento</a:t>
                      </a:r>
                      <a:endParaRPr lang="pt-B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100" u="none" strike="noStrike">
                          <a:effectLst/>
                        </a:rPr>
                        <a:t>11,3%</a:t>
                      </a:r>
                      <a:endParaRPr lang="pt-B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100" u="none" strike="noStrike">
                          <a:effectLst/>
                        </a:rPr>
                        <a:t>26,0%</a:t>
                      </a:r>
                      <a:endParaRPr lang="pt-B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100" u="none" strike="noStrike">
                          <a:effectLst/>
                        </a:rPr>
                        <a:t>22,9%</a:t>
                      </a:r>
                      <a:endParaRPr lang="pt-B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100" u="none" strike="noStrike">
                          <a:effectLst/>
                        </a:rPr>
                        <a:t>28,9%</a:t>
                      </a:r>
                      <a:endParaRPr lang="pt-B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44039985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l" fontAlgn="b"/>
                      <a:r>
                        <a:rPr lang="pt-BR" sz="1100" u="none" strike="noStrike">
                          <a:effectLst/>
                        </a:rPr>
                        <a:t>Contestação de Conta</a:t>
                      </a:r>
                      <a:endParaRPr lang="pt-B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100" u="none" strike="noStrike">
                          <a:effectLst/>
                        </a:rPr>
                        <a:t>22,6%</a:t>
                      </a:r>
                      <a:endParaRPr lang="pt-B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100" u="none" strike="noStrike">
                          <a:effectLst/>
                        </a:rPr>
                        <a:t>22,1%</a:t>
                      </a:r>
                      <a:endParaRPr lang="pt-B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100" u="none" strike="noStrike">
                          <a:effectLst/>
                        </a:rPr>
                        <a:t>17,8%</a:t>
                      </a:r>
                      <a:endParaRPr lang="pt-B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100" u="none" strike="noStrike">
                          <a:effectLst/>
                        </a:rPr>
                        <a:t>17,8%</a:t>
                      </a:r>
                      <a:endParaRPr lang="pt-B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1477898449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l" fontAlgn="b"/>
                      <a:r>
                        <a:rPr lang="pt-BR" sz="1100" u="none" strike="noStrike" dirty="0">
                          <a:effectLst/>
                        </a:rPr>
                        <a:t>Desbloqueio Linha</a:t>
                      </a:r>
                      <a:endParaRPr lang="pt-B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100" u="none" strike="noStrike">
                          <a:effectLst/>
                        </a:rPr>
                        <a:t>11,3%</a:t>
                      </a:r>
                      <a:endParaRPr lang="pt-B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100" u="none" strike="noStrike">
                          <a:effectLst/>
                        </a:rPr>
                        <a:t>3,9%</a:t>
                      </a:r>
                      <a:endParaRPr lang="pt-B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100" u="none" strike="noStrike">
                          <a:effectLst/>
                        </a:rPr>
                        <a:t>13,6%</a:t>
                      </a:r>
                      <a:endParaRPr lang="pt-B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100" u="none" strike="noStrike">
                          <a:effectLst/>
                        </a:rPr>
                        <a:t>15,6%</a:t>
                      </a:r>
                      <a:endParaRPr lang="pt-B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559812408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l" fontAlgn="b"/>
                      <a:r>
                        <a:rPr lang="pt-BR" sz="1100" u="none" strike="noStrike">
                          <a:effectLst/>
                        </a:rPr>
                        <a:t>Baixa Pgto no Sistema</a:t>
                      </a:r>
                      <a:endParaRPr lang="pt-B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100" u="none" strike="noStrike">
                          <a:effectLst/>
                        </a:rPr>
                        <a:t>22,6%</a:t>
                      </a:r>
                      <a:endParaRPr lang="pt-B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100" u="none" strike="noStrike">
                          <a:effectLst/>
                        </a:rPr>
                        <a:t>18,2%</a:t>
                      </a:r>
                      <a:endParaRPr lang="pt-B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100" u="none" strike="noStrike">
                          <a:effectLst/>
                        </a:rPr>
                        <a:t>13,6%</a:t>
                      </a:r>
                      <a:endParaRPr lang="pt-B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100" u="none" strike="noStrike">
                          <a:effectLst/>
                        </a:rPr>
                        <a:t>17,8%</a:t>
                      </a:r>
                      <a:endParaRPr lang="pt-B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2518348820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l" fontAlgn="b"/>
                      <a:r>
                        <a:rPr lang="pt-BR" sz="1100" u="none" strike="noStrike">
                          <a:effectLst/>
                        </a:rPr>
                        <a:t>Alterar Data de Vencimento</a:t>
                      </a:r>
                      <a:endParaRPr lang="pt-B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B w="12700" cap="flat" cmpd="sng" algn="ctr">
                      <a:solidFill>
                        <a:srgbClr val="0000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100" u="none" strike="noStrike">
                          <a:effectLst/>
                        </a:rPr>
                        <a:t>17,7%</a:t>
                      </a:r>
                      <a:endParaRPr lang="pt-B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B w="12700" cap="flat" cmpd="sng" algn="ctr">
                      <a:solidFill>
                        <a:srgbClr val="0000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100" u="none" strike="noStrike">
                          <a:effectLst/>
                        </a:rPr>
                        <a:t>13,0%</a:t>
                      </a:r>
                      <a:endParaRPr lang="pt-B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B w="12700" cap="flat" cmpd="sng" algn="ctr">
                      <a:solidFill>
                        <a:srgbClr val="0000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100" u="none" strike="noStrike">
                          <a:effectLst/>
                        </a:rPr>
                        <a:t>12,7%</a:t>
                      </a:r>
                      <a:endParaRPr lang="pt-B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B w="12700" cap="flat" cmpd="sng" algn="ctr">
                      <a:solidFill>
                        <a:srgbClr val="0000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100" u="none" strike="noStrike" dirty="0">
                          <a:effectLst/>
                        </a:rPr>
                        <a:t>12,2%</a:t>
                      </a:r>
                      <a:endParaRPr lang="pt-B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B w="12700" cap="flat" cmpd="sng" algn="ctr">
                      <a:solidFill>
                        <a:srgbClr val="0000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8837229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2690289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Box 16">
            <a:extLst>
              <a:ext uri="{FF2B5EF4-FFF2-40B4-BE49-F238E27FC236}">
                <a16:creationId xmlns:a16="http://schemas.microsoft.com/office/drawing/2014/main" id="{322FD4D9-F6EB-4F03-BDCC-AAA301844F23}"/>
              </a:ext>
            </a:extLst>
          </p:cNvPr>
          <p:cNvSpPr txBox="1"/>
          <p:nvPr/>
        </p:nvSpPr>
        <p:spPr>
          <a:xfrm>
            <a:off x="643466" y="471267"/>
            <a:ext cx="6532033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pt-BR"/>
            </a:defPPr>
            <a:lvl1pPr>
              <a:defRPr b="1" i="0">
                <a:solidFill>
                  <a:srgbClr val="004691"/>
                </a:solidFill>
                <a:effectLst/>
                <a:latin typeface="TIM Sans" panose="00000500000000000000"/>
              </a:defRPr>
            </a:lvl1pPr>
          </a:lstStyle>
          <a:p>
            <a:r>
              <a:rPr lang="pt-BR" sz="2800" dirty="0">
                <a:solidFill>
                  <a:srgbClr val="0000F4"/>
                </a:solidFill>
                <a:latin typeface="TIM Sans" panose="00000500000000000000" charset="0"/>
              </a:rPr>
              <a:t>Análise</a:t>
            </a:r>
            <a:r>
              <a:rPr lang="pt-BR" sz="2800" dirty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pt-BR" sz="2800" dirty="0">
                <a:solidFill>
                  <a:srgbClr val="0000F4"/>
                </a:solidFill>
                <a:latin typeface="TIM Sans" panose="00000500000000000000" charset="0"/>
              </a:rPr>
              <a:t>Motivadores (Pós Puro)</a:t>
            </a: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FC4B7235-CFC3-401F-9617-782E496698B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rot="21162860">
            <a:off x="4778057" y="3881171"/>
            <a:ext cx="380351" cy="521625"/>
          </a:xfrm>
          <a:prstGeom prst="rect">
            <a:avLst/>
          </a:prstGeom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F5A8E811-7BCA-4DF2-B7BE-97A49F86F38A}"/>
              </a:ext>
            </a:extLst>
          </p:cNvPr>
          <p:cNvSpPr txBox="1"/>
          <p:nvPr/>
        </p:nvSpPr>
        <p:spPr>
          <a:xfrm>
            <a:off x="479425" y="1331022"/>
            <a:ext cx="6113878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pt-BR" sz="1600" dirty="0">
                <a:solidFill>
                  <a:srgbClr val="0000F4"/>
                </a:solidFill>
                <a:latin typeface="TIM Sans" panose="00000500000000000000" charset="0"/>
              </a:rPr>
              <a:t>Aprofundamento </a:t>
            </a:r>
            <a:r>
              <a:rPr lang="pt-BR" sz="1600" b="1" dirty="0">
                <a:solidFill>
                  <a:schemeClr val="accent5"/>
                </a:solidFill>
                <a:latin typeface="TIM Sans" panose="00000500000000000000" charset="0"/>
              </a:rPr>
              <a:t>Cancelamento </a:t>
            </a:r>
            <a:r>
              <a:rPr lang="pt-BR" sz="1600" dirty="0">
                <a:solidFill>
                  <a:srgbClr val="0000F4"/>
                </a:solidFill>
                <a:latin typeface="TIM Sans" panose="00000500000000000000" charset="0"/>
              </a:rPr>
              <a:t>– </a:t>
            </a:r>
            <a:r>
              <a:rPr lang="pt-BR" sz="1600" dirty="0" err="1">
                <a:solidFill>
                  <a:srgbClr val="0000F4"/>
                </a:solidFill>
                <a:latin typeface="TIM Sans" panose="00000500000000000000" charset="0"/>
              </a:rPr>
              <a:t>Churn</a:t>
            </a:r>
            <a:r>
              <a:rPr lang="pt-BR" sz="1600" dirty="0">
                <a:solidFill>
                  <a:srgbClr val="0000F4"/>
                </a:solidFill>
                <a:latin typeface="TIM Sans" panose="00000500000000000000" charset="0"/>
              </a:rPr>
              <a:t> Involuntário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0787E5FE-8D8B-4E8E-864E-E862D5482934}"/>
              </a:ext>
            </a:extLst>
          </p:cNvPr>
          <p:cNvSpPr txBox="1"/>
          <p:nvPr/>
        </p:nvSpPr>
        <p:spPr>
          <a:xfrm>
            <a:off x="561445" y="4141983"/>
            <a:ext cx="4488815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1200" dirty="0">
                <a:latin typeface="TIM Sans" panose="00000500000000000000" charset="0"/>
              </a:rPr>
              <a:t>Esses são os principais motivadores ditos juntos com “Cancelamento”</a:t>
            </a:r>
          </a:p>
          <a:p>
            <a:endParaRPr lang="pt-BR" sz="1200" dirty="0">
              <a:latin typeface="TIM Sans" panose="00000500000000000000" charset="0"/>
            </a:endParaRPr>
          </a:p>
          <a:p>
            <a:r>
              <a:rPr lang="pt-BR" sz="1200" dirty="0">
                <a:latin typeface="TIM Sans" panose="00000500000000000000" charset="0"/>
              </a:rPr>
              <a:t>Interpretação:</a:t>
            </a:r>
          </a:p>
          <a:p>
            <a:r>
              <a:rPr lang="pt-BR" sz="1200" dirty="0">
                <a:latin typeface="TIM Sans" panose="00000500000000000000" charset="0"/>
              </a:rPr>
              <a:t>Em dezembro de 2022, 14.8% das chamadas em que o cliente fala sobre “Cancelamento” ele também fala de Problema Técnico.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EBE64CE4-6F7D-4261-9167-2495D3DC51A3}"/>
              </a:ext>
            </a:extLst>
          </p:cNvPr>
          <p:cNvSpPr txBox="1"/>
          <p:nvPr/>
        </p:nvSpPr>
        <p:spPr>
          <a:xfrm>
            <a:off x="561445" y="1910079"/>
            <a:ext cx="4324774" cy="2923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1300" dirty="0">
                <a:solidFill>
                  <a:srgbClr val="0000F4"/>
                </a:solidFill>
                <a:latin typeface="TIM Sans" panose="00000500000000000000" charset="0"/>
              </a:rPr>
              <a:t>Motivadores ditos Juntos</a:t>
            </a:r>
            <a:endParaRPr lang="pt-BR" sz="1300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A9C4DBC2-B76B-4FBB-89E4-131DD7BAF9EC}"/>
              </a:ext>
            </a:extLst>
          </p:cNvPr>
          <p:cNvSpPr/>
          <p:nvPr/>
        </p:nvSpPr>
        <p:spPr>
          <a:xfrm>
            <a:off x="10081586" y="471267"/>
            <a:ext cx="1524000" cy="859755"/>
          </a:xfrm>
          <a:prstGeom prst="rect">
            <a:avLst/>
          </a:prstGeom>
          <a:solidFill>
            <a:srgbClr val="0000F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453 Chamadas</a:t>
            </a:r>
          </a:p>
          <a:p>
            <a:pPr algn="ctr"/>
            <a:r>
              <a:rPr lang="pt-BR" dirty="0"/>
              <a:t>(19%)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86DFF73C-172C-449C-B028-B27869E41B23}"/>
              </a:ext>
            </a:extLst>
          </p:cNvPr>
          <p:cNvCxnSpPr>
            <a:cxnSpLocks/>
          </p:cNvCxnSpPr>
          <p:nvPr/>
        </p:nvCxnSpPr>
        <p:spPr>
          <a:xfrm>
            <a:off x="3760683" y="1952402"/>
            <a:ext cx="0" cy="1906757"/>
          </a:xfrm>
          <a:prstGeom prst="line">
            <a:avLst/>
          </a:prstGeom>
          <a:ln>
            <a:solidFill>
              <a:srgbClr val="0000F4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11FEF94E-0456-4501-80BF-9EA87548524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10119197"/>
              </p:ext>
            </p:extLst>
          </p:nvPr>
        </p:nvGraphicFramePr>
        <p:xfrm>
          <a:off x="643465" y="2289477"/>
          <a:ext cx="4488813" cy="1569680"/>
        </p:xfrm>
        <a:graphic>
          <a:graphicData uri="http://schemas.openxmlformats.org/drawingml/2006/table">
            <a:tbl>
              <a:tblPr>
                <a:tableStyleId>{9D7B26C5-4107-4FEC-AEDC-1716B250A1EF}</a:tableStyleId>
              </a:tblPr>
              <a:tblGrid>
                <a:gridCol w="1717585">
                  <a:extLst>
                    <a:ext uri="{9D8B030D-6E8A-4147-A177-3AD203B41FA5}">
                      <a16:colId xmlns:a16="http://schemas.microsoft.com/office/drawing/2014/main" val="1457058009"/>
                    </a:ext>
                  </a:extLst>
                </a:gridCol>
                <a:gridCol w="692807">
                  <a:extLst>
                    <a:ext uri="{9D8B030D-6E8A-4147-A177-3AD203B41FA5}">
                      <a16:colId xmlns:a16="http://schemas.microsoft.com/office/drawing/2014/main" val="4197564001"/>
                    </a:ext>
                  </a:extLst>
                </a:gridCol>
                <a:gridCol w="692807">
                  <a:extLst>
                    <a:ext uri="{9D8B030D-6E8A-4147-A177-3AD203B41FA5}">
                      <a16:colId xmlns:a16="http://schemas.microsoft.com/office/drawing/2014/main" val="1385412586"/>
                    </a:ext>
                  </a:extLst>
                </a:gridCol>
                <a:gridCol w="692807">
                  <a:extLst>
                    <a:ext uri="{9D8B030D-6E8A-4147-A177-3AD203B41FA5}">
                      <a16:colId xmlns:a16="http://schemas.microsoft.com/office/drawing/2014/main" val="922727706"/>
                    </a:ext>
                  </a:extLst>
                </a:gridCol>
                <a:gridCol w="692807">
                  <a:extLst>
                    <a:ext uri="{9D8B030D-6E8A-4147-A177-3AD203B41FA5}">
                      <a16:colId xmlns:a16="http://schemas.microsoft.com/office/drawing/2014/main" val="2596109317"/>
                    </a:ext>
                  </a:extLst>
                </a:gridCol>
              </a:tblGrid>
              <a:tr h="224240">
                <a:tc>
                  <a:txBody>
                    <a:bodyPr/>
                    <a:lstStyle/>
                    <a:p>
                      <a:pPr algn="l" fontAlgn="b"/>
                      <a:endParaRPr lang="pt-B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T w="12700" cap="flat" cmpd="sng" algn="ctr">
                      <a:solidFill>
                        <a:srgbClr val="0000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Set/22</a:t>
                      </a:r>
                      <a:endParaRPr lang="pt-B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T w="12700" cap="flat" cmpd="sng" algn="ctr">
                      <a:solidFill>
                        <a:srgbClr val="0000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100" u="none" strike="noStrike" dirty="0">
                          <a:effectLst/>
                        </a:rPr>
                        <a:t>Out/22</a:t>
                      </a:r>
                      <a:endParaRPr lang="pt-B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T w="12700" cap="flat" cmpd="sng" algn="ctr">
                      <a:solidFill>
                        <a:srgbClr val="0000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100" u="none" strike="noStrike" dirty="0">
                          <a:effectLst/>
                        </a:rPr>
                        <a:t>Dez/22</a:t>
                      </a:r>
                      <a:endParaRPr lang="pt-B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T w="12700" cap="flat" cmpd="sng" algn="ctr">
                      <a:solidFill>
                        <a:srgbClr val="0000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100" u="none" strike="noStrike" dirty="0">
                          <a:effectLst/>
                        </a:rPr>
                        <a:t>Jan/23</a:t>
                      </a:r>
                      <a:endParaRPr lang="pt-B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T w="12700" cap="flat" cmpd="sng" algn="ctr">
                      <a:solidFill>
                        <a:srgbClr val="0000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431716386"/>
                  </a:ext>
                </a:extLst>
              </a:tr>
              <a:tr h="224240">
                <a:tc>
                  <a:txBody>
                    <a:bodyPr/>
                    <a:lstStyle/>
                    <a:p>
                      <a:pPr algn="l" fontAlgn="b"/>
                      <a:r>
                        <a:rPr lang="pt-BR" sz="1100" u="none" strike="noStrike">
                          <a:effectLst/>
                        </a:rPr>
                        <a:t>Alterar Dados Cadastrais</a:t>
                      </a:r>
                      <a:endParaRPr lang="pt-B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100" u="none" strike="noStrike">
                          <a:effectLst/>
                        </a:rPr>
                        <a:t>10,9%</a:t>
                      </a:r>
                      <a:endParaRPr lang="pt-B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100" u="none" strike="noStrike">
                          <a:effectLst/>
                        </a:rPr>
                        <a:t>13,6%</a:t>
                      </a:r>
                      <a:endParaRPr lang="pt-B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100" u="none" strike="noStrike">
                          <a:effectLst/>
                        </a:rPr>
                        <a:t>11,1%</a:t>
                      </a:r>
                      <a:endParaRPr lang="pt-B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100" u="none" strike="noStrike">
                          <a:effectLst/>
                        </a:rPr>
                        <a:t>14,8%</a:t>
                      </a:r>
                      <a:endParaRPr lang="pt-B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3612390284"/>
                  </a:ext>
                </a:extLst>
              </a:tr>
              <a:tr h="224240">
                <a:tc>
                  <a:txBody>
                    <a:bodyPr/>
                    <a:lstStyle/>
                    <a:p>
                      <a:pPr algn="l" fontAlgn="b"/>
                      <a:r>
                        <a:rPr lang="pt-BR" sz="1100" u="none" strike="noStrike">
                          <a:effectLst/>
                        </a:rPr>
                        <a:t>Informação sobre Plano</a:t>
                      </a:r>
                      <a:endParaRPr lang="pt-B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100" u="none" strike="noStrike">
                          <a:effectLst/>
                        </a:rPr>
                        <a:t>28,1%</a:t>
                      </a:r>
                      <a:endParaRPr lang="pt-B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100" u="none" strike="noStrike">
                          <a:effectLst/>
                        </a:rPr>
                        <a:t>18,2%</a:t>
                      </a:r>
                      <a:endParaRPr lang="pt-B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100" u="none" strike="noStrike">
                          <a:effectLst/>
                        </a:rPr>
                        <a:t>21,0%</a:t>
                      </a:r>
                      <a:endParaRPr lang="pt-B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100" u="none" strike="noStrike">
                          <a:effectLst/>
                        </a:rPr>
                        <a:t>18,0%</a:t>
                      </a:r>
                      <a:endParaRPr lang="pt-B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71620847"/>
                  </a:ext>
                </a:extLst>
              </a:tr>
              <a:tr h="224240">
                <a:tc>
                  <a:txBody>
                    <a:bodyPr/>
                    <a:lstStyle/>
                    <a:p>
                      <a:pPr algn="l" fontAlgn="b"/>
                      <a:r>
                        <a:rPr lang="pt-BR" sz="1100" u="none" strike="noStrike">
                          <a:effectLst/>
                        </a:rPr>
                        <a:t>Contestação de Conta</a:t>
                      </a:r>
                      <a:endParaRPr lang="pt-B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100" u="none" strike="noStrike">
                          <a:effectLst/>
                        </a:rPr>
                        <a:t>23,4%</a:t>
                      </a:r>
                      <a:endParaRPr lang="pt-B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100" u="none" strike="noStrike">
                          <a:effectLst/>
                        </a:rPr>
                        <a:t>22,7%</a:t>
                      </a:r>
                      <a:endParaRPr lang="pt-B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100" u="none" strike="noStrike">
                          <a:effectLst/>
                        </a:rPr>
                        <a:t>28,4%</a:t>
                      </a:r>
                      <a:endParaRPr lang="pt-B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100" u="none" strike="noStrike">
                          <a:effectLst/>
                        </a:rPr>
                        <a:t>16,4%</a:t>
                      </a:r>
                      <a:endParaRPr lang="pt-B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2544022753"/>
                  </a:ext>
                </a:extLst>
              </a:tr>
              <a:tr h="224240">
                <a:tc>
                  <a:txBody>
                    <a:bodyPr/>
                    <a:lstStyle/>
                    <a:p>
                      <a:pPr algn="l" fontAlgn="b"/>
                      <a:r>
                        <a:rPr lang="pt-BR" sz="1100" u="none" strike="noStrike">
                          <a:effectLst/>
                        </a:rPr>
                        <a:t>Desbloqueio Linha</a:t>
                      </a:r>
                      <a:endParaRPr lang="pt-B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100" u="none" strike="noStrike">
                          <a:effectLst/>
                        </a:rPr>
                        <a:t>6,3%</a:t>
                      </a:r>
                      <a:endParaRPr lang="pt-B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100" u="none" strike="noStrike">
                          <a:effectLst/>
                        </a:rPr>
                        <a:t>8,2%</a:t>
                      </a:r>
                      <a:endParaRPr lang="pt-B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100" u="none" strike="noStrike">
                          <a:effectLst/>
                        </a:rPr>
                        <a:t>19,8%</a:t>
                      </a:r>
                      <a:endParaRPr lang="pt-B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100" u="none" strike="noStrike">
                          <a:effectLst/>
                        </a:rPr>
                        <a:t>13,1%</a:t>
                      </a:r>
                      <a:endParaRPr lang="pt-B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3356365919"/>
                  </a:ext>
                </a:extLst>
              </a:tr>
              <a:tr h="224240">
                <a:tc>
                  <a:txBody>
                    <a:bodyPr/>
                    <a:lstStyle/>
                    <a:p>
                      <a:pPr algn="l" fontAlgn="b"/>
                      <a:r>
                        <a:rPr lang="pt-BR" sz="1100" u="none" strike="noStrike">
                          <a:effectLst/>
                        </a:rPr>
                        <a:t>Baixa Pgto no Sistema</a:t>
                      </a:r>
                      <a:endParaRPr lang="pt-B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100" u="none" strike="noStrike">
                          <a:effectLst/>
                        </a:rPr>
                        <a:t>18,8%</a:t>
                      </a:r>
                      <a:endParaRPr lang="pt-B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100" u="none" strike="noStrike">
                          <a:effectLst/>
                        </a:rPr>
                        <a:t>14,5%</a:t>
                      </a:r>
                      <a:endParaRPr lang="pt-B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100" u="none" strike="noStrike">
                          <a:effectLst/>
                        </a:rPr>
                        <a:t>21,0%</a:t>
                      </a:r>
                      <a:endParaRPr lang="pt-B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100" u="none" strike="noStrike">
                          <a:effectLst/>
                        </a:rPr>
                        <a:t>16,4%</a:t>
                      </a:r>
                      <a:endParaRPr lang="pt-B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721894366"/>
                  </a:ext>
                </a:extLst>
              </a:tr>
              <a:tr h="224240">
                <a:tc>
                  <a:txBody>
                    <a:bodyPr/>
                    <a:lstStyle/>
                    <a:p>
                      <a:pPr algn="l" fontAlgn="b"/>
                      <a:r>
                        <a:rPr lang="pt-BR" sz="1100" u="none" strike="noStrike">
                          <a:effectLst/>
                        </a:rPr>
                        <a:t>Problema Técnico</a:t>
                      </a:r>
                      <a:endParaRPr lang="pt-B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B w="12700" cap="flat" cmpd="sng" algn="ctr">
                      <a:solidFill>
                        <a:srgbClr val="0000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100" u="none" strike="noStrike">
                          <a:effectLst/>
                        </a:rPr>
                        <a:t>21,9%</a:t>
                      </a:r>
                      <a:endParaRPr lang="pt-B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B w="12700" cap="flat" cmpd="sng" algn="ctr">
                      <a:solidFill>
                        <a:srgbClr val="0000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100" u="none" strike="noStrike">
                          <a:effectLst/>
                        </a:rPr>
                        <a:t>16,4%</a:t>
                      </a:r>
                      <a:endParaRPr lang="pt-B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B w="12700" cap="flat" cmpd="sng" algn="ctr">
                      <a:solidFill>
                        <a:srgbClr val="0000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100" u="none" strike="noStrike">
                          <a:effectLst/>
                        </a:rPr>
                        <a:t>14,8%</a:t>
                      </a:r>
                      <a:endParaRPr lang="pt-B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B w="12700" cap="flat" cmpd="sng" algn="ctr">
                      <a:solidFill>
                        <a:srgbClr val="0000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100" u="none" strike="noStrike" dirty="0">
                          <a:effectLst/>
                        </a:rPr>
                        <a:t>19,7%</a:t>
                      </a:r>
                      <a:endParaRPr lang="pt-B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B w="12700" cap="flat" cmpd="sng" algn="ctr">
                      <a:solidFill>
                        <a:srgbClr val="0000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2021311"/>
                  </a:ext>
                </a:extLst>
              </a:tr>
            </a:tbl>
          </a:graphicData>
        </a:graphic>
      </p:graphicFrame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E2A2D4E9-D1EF-4C34-952F-877F6B6E070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0210770"/>
              </p:ext>
            </p:extLst>
          </p:nvPr>
        </p:nvGraphicFramePr>
        <p:xfrm>
          <a:off x="6593302" y="2293614"/>
          <a:ext cx="4955233" cy="1569681"/>
        </p:xfrm>
        <a:graphic>
          <a:graphicData uri="http://schemas.openxmlformats.org/drawingml/2006/table">
            <a:tbl>
              <a:tblPr>
                <a:tableStyleId>{9D7B26C5-4107-4FEC-AEDC-1716B250A1EF}</a:tableStyleId>
              </a:tblPr>
              <a:tblGrid>
                <a:gridCol w="2297677">
                  <a:extLst>
                    <a:ext uri="{9D8B030D-6E8A-4147-A177-3AD203B41FA5}">
                      <a16:colId xmlns:a16="http://schemas.microsoft.com/office/drawing/2014/main" val="4071340022"/>
                    </a:ext>
                  </a:extLst>
                </a:gridCol>
                <a:gridCol w="664389">
                  <a:extLst>
                    <a:ext uri="{9D8B030D-6E8A-4147-A177-3AD203B41FA5}">
                      <a16:colId xmlns:a16="http://schemas.microsoft.com/office/drawing/2014/main" val="4058599149"/>
                    </a:ext>
                  </a:extLst>
                </a:gridCol>
                <a:gridCol w="664389">
                  <a:extLst>
                    <a:ext uri="{9D8B030D-6E8A-4147-A177-3AD203B41FA5}">
                      <a16:colId xmlns:a16="http://schemas.microsoft.com/office/drawing/2014/main" val="3392775287"/>
                    </a:ext>
                  </a:extLst>
                </a:gridCol>
                <a:gridCol w="664389">
                  <a:extLst>
                    <a:ext uri="{9D8B030D-6E8A-4147-A177-3AD203B41FA5}">
                      <a16:colId xmlns:a16="http://schemas.microsoft.com/office/drawing/2014/main" val="912444177"/>
                    </a:ext>
                  </a:extLst>
                </a:gridCol>
                <a:gridCol w="664389">
                  <a:extLst>
                    <a:ext uri="{9D8B030D-6E8A-4147-A177-3AD203B41FA5}">
                      <a16:colId xmlns:a16="http://schemas.microsoft.com/office/drawing/2014/main" val="3775543428"/>
                    </a:ext>
                  </a:extLst>
                </a:gridCol>
              </a:tblGrid>
              <a:tr h="239079">
                <a:tc>
                  <a:txBody>
                    <a:bodyPr/>
                    <a:lstStyle/>
                    <a:p>
                      <a:pPr algn="l" fontAlgn="b"/>
                      <a:endParaRPr lang="pt-B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T w="12700" cap="flat" cmpd="sng" algn="ctr">
                      <a:solidFill>
                        <a:srgbClr val="0000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Set/22</a:t>
                      </a:r>
                      <a:endParaRPr lang="pt-B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T w="12700" cap="flat" cmpd="sng" algn="ctr">
                      <a:solidFill>
                        <a:srgbClr val="0000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100" u="none" strike="noStrike" dirty="0">
                          <a:effectLst/>
                        </a:rPr>
                        <a:t>Out/22</a:t>
                      </a:r>
                      <a:endParaRPr lang="pt-B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T w="12700" cap="flat" cmpd="sng" algn="ctr">
                      <a:solidFill>
                        <a:srgbClr val="0000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100" u="none" strike="noStrike" dirty="0">
                          <a:effectLst/>
                        </a:rPr>
                        <a:t>Dez/22</a:t>
                      </a:r>
                      <a:endParaRPr lang="pt-B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T w="12700" cap="flat" cmpd="sng" algn="ctr">
                      <a:solidFill>
                        <a:srgbClr val="0000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100" u="none" strike="noStrike" dirty="0">
                          <a:effectLst/>
                        </a:rPr>
                        <a:t>Jan/23</a:t>
                      </a:r>
                      <a:endParaRPr lang="pt-B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T w="12700" cap="flat" cmpd="sng" algn="ctr">
                      <a:solidFill>
                        <a:srgbClr val="0000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3442703535"/>
                  </a:ext>
                </a:extLst>
              </a:tr>
              <a:tr h="443534">
                <a:tc>
                  <a:txBody>
                    <a:bodyPr/>
                    <a:lstStyle/>
                    <a:p>
                      <a:pPr algn="l" fontAlgn="b"/>
                      <a:r>
                        <a:rPr lang="pt-BR" sz="1100" u="none" strike="noStrike" dirty="0">
                          <a:effectLst/>
                        </a:rPr>
                        <a:t>Solicitar cancelamento do plano por conta do valor que aumentou</a:t>
                      </a:r>
                      <a:endParaRPr lang="pt-B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100" u="none" strike="noStrike">
                          <a:effectLst/>
                        </a:rPr>
                        <a:t>1,6%</a:t>
                      </a:r>
                      <a:endParaRPr lang="pt-B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100" u="none" strike="noStrike">
                          <a:effectLst/>
                        </a:rPr>
                        <a:t>1,7%</a:t>
                      </a:r>
                      <a:endParaRPr lang="pt-B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100" u="none" strike="noStrike">
                          <a:effectLst/>
                        </a:rPr>
                        <a:t>2,1%</a:t>
                      </a:r>
                      <a:endParaRPr lang="pt-B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100" u="none" strike="noStrike">
                          <a:effectLst/>
                        </a:rPr>
                        <a:t>2,3%</a:t>
                      </a:r>
                      <a:endParaRPr lang="pt-B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401245296"/>
                  </a:ext>
                </a:extLst>
              </a:tr>
              <a:tr h="443534">
                <a:tc>
                  <a:txBody>
                    <a:bodyPr/>
                    <a:lstStyle/>
                    <a:p>
                      <a:pPr algn="l" fontAlgn="b"/>
                      <a:r>
                        <a:rPr lang="pt-BR" sz="1100" u="none" strike="noStrike">
                          <a:effectLst/>
                        </a:rPr>
                        <a:t>Solicitar cancelamento do plano pois era um terceiro quem utilizava</a:t>
                      </a:r>
                      <a:endParaRPr lang="pt-B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100" u="none" strike="noStrike">
                          <a:effectLst/>
                        </a:rPr>
                        <a:t>1,6%</a:t>
                      </a:r>
                      <a:endParaRPr lang="pt-B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100" u="none" strike="noStrike">
                          <a:effectLst/>
                        </a:rPr>
                        <a:t>2,6%</a:t>
                      </a:r>
                      <a:endParaRPr lang="pt-B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100" u="none" strike="noStrike">
                          <a:effectLst/>
                        </a:rPr>
                        <a:t>2,1%</a:t>
                      </a:r>
                      <a:endParaRPr lang="pt-B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100" u="none" strike="noStrike">
                          <a:effectLst/>
                        </a:rPr>
                        <a:t>1,6%</a:t>
                      </a:r>
                      <a:endParaRPr lang="pt-B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4245638422"/>
                  </a:ext>
                </a:extLst>
              </a:tr>
              <a:tr h="443534">
                <a:tc>
                  <a:txBody>
                    <a:bodyPr/>
                    <a:lstStyle/>
                    <a:p>
                      <a:pPr algn="l" fontAlgn="b"/>
                      <a:r>
                        <a:rPr lang="pt-BR" sz="1100" u="none" strike="noStrike">
                          <a:effectLst/>
                        </a:rPr>
                        <a:t>Solicitar cancelamento do plano por conta de bloqueio</a:t>
                      </a:r>
                      <a:endParaRPr lang="pt-B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B w="12700" cap="flat" cmpd="sng" algn="ctr">
                      <a:solidFill>
                        <a:srgbClr val="0000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100" u="none" strike="noStrike">
                          <a:effectLst/>
                        </a:rPr>
                        <a:t>2,4%</a:t>
                      </a:r>
                      <a:endParaRPr lang="pt-B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B w="12700" cap="flat" cmpd="sng" algn="ctr">
                      <a:solidFill>
                        <a:srgbClr val="0000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100" u="none" strike="noStrike">
                          <a:effectLst/>
                        </a:rPr>
                        <a:t>0,0%</a:t>
                      </a:r>
                      <a:endParaRPr lang="pt-B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B w="12700" cap="flat" cmpd="sng" algn="ctr">
                      <a:solidFill>
                        <a:srgbClr val="0000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100" u="none" strike="noStrike">
                          <a:effectLst/>
                        </a:rPr>
                        <a:t>1,0%</a:t>
                      </a:r>
                      <a:endParaRPr lang="pt-B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B w="12700" cap="flat" cmpd="sng" algn="ctr">
                      <a:solidFill>
                        <a:srgbClr val="0000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100" u="none" strike="noStrike" dirty="0">
                          <a:effectLst/>
                        </a:rPr>
                        <a:t>1,6%</a:t>
                      </a:r>
                      <a:endParaRPr lang="pt-B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B w="12700" cap="flat" cmpd="sng" algn="ctr">
                      <a:solidFill>
                        <a:srgbClr val="0000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90300084"/>
                  </a:ext>
                </a:extLst>
              </a:tr>
            </a:tbl>
          </a:graphicData>
        </a:graphic>
      </p:graphicFrame>
      <p:sp>
        <p:nvSpPr>
          <p:cNvPr id="12" name="TextBox 11">
            <a:extLst>
              <a:ext uri="{FF2B5EF4-FFF2-40B4-BE49-F238E27FC236}">
                <a16:creationId xmlns:a16="http://schemas.microsoft.com/office/drawing/2014/main" id="{0FB90EB3-2070-499B-A7FD-3447D4C66644}"/>
              </a:ext>
            </a:extLst>
          </p:cNvPr>
          <p:cNvSpPr txBox="1"/>
          <p:nvPr/>
        </p:nvSpPr>
        <p:spPr>
          <a:xfrm>
            <a:off x="6992723" y="4141982"/>
            <a:ext cx="4488815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1200" dirty="0">
                <a:latin typeface="TIM Sans" panose="00000500000000000000" charset="0"/>
              </a:rPr>
              <a:t>Esses são </a:t>
            </a:r>
            <a:r>
              <a:rPr lang="pt-BR" sz="1200" dirty="0" err="1">
                <a:latin typeface="TIM Sans" panose="00000500000000000000" charset="0"/>
              </a:rPr>
              <a:t>submotivadores</a:t>
            </a:r>
            <a:r>
              <a:rPr lang="pt-BR" sz="1200" dirty="0">
                <a:latin typeface="TIM Sans" panose="00000500000000000000" charset="0"/>
              </a:rPr>
              <a:t> de “Cancelamento” .</a:t>
            </a:r>
          </a:p>
          <a:p>
            <a:endParaRPr lang="pt-BR" sz="1200" dirty="0">
              <a:latin typeface="TIM Sans" panose="00000500000000000000" charset="0"/>
            </a:endParaRPr>
          </a:p>
          <a:p>
            <a:r>
              <a:rPr lang="pt-BR" sz="1200" dirty="0">
                <a:latin typeface="TIM Sans" panose="00000500000000000000" charset="0"/>
              </a:rPr>
              <a:t>Interpretação:</a:t>
            </a:r>
          </a:p>
          <a:p>
            <a:r>
              <a:rPr lang="pt-BR" sz="1200" dirty="0">
                <a:latin typeface="TIM Sans" panose="00000500000000000000" charset="0"/>
              </a:rPr>
              <a:t>Em setembro de 2022, 1.6% das chamadas em que o cliente fala sobre “Cancelamento” tem como </a:t>
            </a:r>
            <a:r>
              <a:rPr lang="pt-BR" sz="1200" dirty="0" err="1">
                <a:latin typeface="TIM Sans" panose="00000500000000000000" charset="0"/>
              </a:rPr>
              <a:t>submotivador</a:t>
            </a:r>
            <a:r>
              <a:rPr lang="pt-BR" sz="1200" dirty="0">
                <a:latin typeface="TIM Sans" panose="00000500000000000000" charset="0"/>
              </a:rPr>
              <a:t> </a:t>
            </a:r>
            <a:r>
              <a:rPr lang="pt-BR" sz="1200" u="none" strike="noStrike" dirty="0">
                <a:effectLst/>
              </a:rPr>
              <a:t>Solicitar cancelamento do plano por conta do valor que aumentou</a:t>
            </a:r>
            <a:endParaRPr lang="pt-BR" sz="1200" b="0" i="0" u="none" strike="noStrike" dirty="0">
              <a:solidFill>
                <a:srgbClr val="000000"/>
              </a:solidFill>
              <a:effectLst/>
              <a:latin typeface="Calibri" panose="020F0502020204030204" pitchFamily="34" charset="0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A4E8982D-90AE-4BBE-AA76-4B9534D2D6E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rot="21162860">
            <a:off x="10875126" y="3881170"/>
            <a:ext cx="380351" cy="5216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984229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Chart 10">
            <a:extLst>
              <a:ext uri="{FF2B5EF4-FFF2-40B4-BE49-F238E27FC236}">
                <a16:creationId xmlns:a16="http://schemas.microsoft.com/office/drawing/2014/main" id="{07EEB516-63E5-40EE-A22F-934298CE768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731491318"/>
              </p:ext>
            </p:extLst>
          </p:nvPr>
        </p:nvGraphicFramePr>
        <p:xfrm>
          <a:off x="641713" y="1314450"/>
          <a:ext cx="7706326" cy="535051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6" name="TextBox 15">
            <a:extLst>
              <a:ext uri="{FF2B5EF4-FFF2-40B4-BE49-F238E27FC236}">
                <a16:creationId xmlns:a16="http://schemas.microsoft.com/office/drawing/2014/main" id="{C605460B-E813-4EEC-9770-F9BFAA9FBB2F}"/>
              </a:ext>
            </a:extLst>
          </p:cNvPr>
          <p:cNvSpPr txBox="1"/>
          <p:nvPr/>
        </p:nvSpPr>
        <p:spPr>
          <a:xfrm>
            <a:off x="643466" y="471267"/>
            <a:ext cx="6532033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pt-BR"/>
            </a:defPPr>
            <a:lvl1pPr>
              <a:defRPr b="1" i="0">
                <a:solidFill>
                  <a:srgbClr val="004691"/>
                </a:solidFill>
                <a:effectLst/>
                <a:latin typeface="TIM Sans" panose="00000500000000000000"/>
              </a:defRPr>
            </a:lvl1pPr>
          </a:lstStyle>
          <a:p>
            <a:r>
              <a:rPr lang="pt-BR" sz="2800" dirty="0">
                <a:solidFill>
                  <a:srgbClr val="0000F4"/>
                </a:solidFill>
                <a:latin typeface="TIM Sans" panose="00000500000000000000" charset="0"/>
              </a:rPr>
              <a:t>Análise Dores (Pós Puro)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2318953A-07B2-4766-8751-03E91EC91080}"/>
              </a:ext>
            </a:extLst>
          </p:cNvPr>
          <p:cNvSpPr/>
          <p:nvPr/>
        </p:nvSpPr>
        <p:spPr>
          <a:xfrm>
            <a:off x="4494876" y="3103610"/>
            <a:ext cx="1337911" cy="3561350"/>
          </a:xfrm>
          <a:prstGeom prst="rect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cxnSp>
        <p:nvCxnSpPr>
          <p:cNvPr id="22" name="Connector: Curved 21">
            <a:extLst>
              <a:ext uri="{FF2B5EF4-FFF2-40B4-BE49-F238E27FC236}">
                <a16:creationId xmlns:a16="http://schemas.microsoft.com/office/drawing/2014/main" id="{44FE69CE-C4DC-4EC2-968B-7BA1462B2B08}"/>
              </a:ext>
            </a:extLst>
          </p:cNvPr>
          <p:cNvCxnSpPr>
            <a:cxnSpLocks/>
            <a:stCxn id="21" idx="0"/>
            <a:endCxn id="23" idx="1"/>
          </p:cNvCxnSpPr>
          <p:nvPr/>
        </p:nvCxnSpPr>
        <p:spPr>
          <a:xfrm rot="5400000" flipH="1" flipV="1">
            <a:off x="4799396" y="2486198"/>
            <a:ext cx="981849" cy="252977"/>
          </a:xfrm>
          <a:prstGeom prst="curvedConnector2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22">
            <a:extLst>
              <a:ext uri="{FF2B5EF4-FFF2-40B4-BE49-F238E27FC236}">
                <a16:creationId xmlns:a16="http://schemas.microsoft.com/office/drawing/2014/main" id="{D97F66C7-D257-4EC2-89AA-FFE7F08B417E}"/>
              </a:ext>
            </a:extLst>
          </p:cNvPr>
          <p:cNvSpPr txBox="1"/>
          <p:nvPr/>
        </p:nvSpPr>
        <p:spPr>
          <a:xfrm>
            <a:off x="5416809" y="1890928"/>
            <a:ext cx="1802313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1200" dirty="0">
                <a:latin typeface="TIM Sans" panose="00000500000000000000"/>
              </a:rPr>
              <a:t>Clientes deixaram de pagar suas faturas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2A5B9C22-FC39-4CA9-973A-CF974E778BC7}"/>
              </a:ext>
            </a:extLst>
          </p:cNvPr>
          <p:cNvSpPr txBox="1"/>
          <p:nvPr/>
        </p:nvSpPr>
        <p:spPr>
          <a:xfrm>
            <a:off x="8855017" y="1684770"/>
            <a:ext cx="3153746" cy="206210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1600" dirty="0">
                <a:solidFill>
                  <a:srgbClr val="0000F4"/>
                </a:solidFill>
                <a:latin typeface="TIM Sans" panose="00000500000000000000"/>
              </a:rPr>
              <a:t>Insight :</a:t>
            </a:r>
          </a:p>
          <a:p>
            <a:endParaRPr lang="pt-BR" sz="1600" dirty="0">
              <a:solidFill>
                <a:srgbClr val="0000F4"/>
              </a:solidFill>
              <a:latin typeface="TIM Sans" panose="00000500000000000000"/>
            </a:endParaRPr>
          </a:p>
          <a:p>
            <a:r>
              <a:rPr lang="pt-BR" sz="1600" dirty="0">
                <a:solidFill>
                  <a:srgbClr val="0000F4"/>
                </a:solidFill>
                <a:latin typeface="TIM Sans" panose="00000500000000000000"/>
              </a:rPr>
              <a:t>Clientes do grupo de </a:t>
            </a:r>
            <a:r>
              <a:rPr lang="pt-BR" sz="1600" dirty="0" err="1">
                <a:solidFill>
                  <a:srgbClr val="0000F4"/>
                </a:solidFill>
                <a:latin typeface="TIM Sans" panose="00000500000000000000"/>
              </a:rPr>
              <a:t>churn</a:t>
            </a:r>
            <a:r>
              <a:rPr lang="pt-BR" sz="1600" dirty="0">
                <a:solidFill>
                  <a:srgbClr val="0000F4"/>
                </a:solidFill>
                <a:latin typeface="TIM Sans" panose="00000500000000000000"/>
              </a:rPr>
              <a:t> involuntário tem uma proporção de </a:t>
            </a:r>
            <a:r>
              <a:rPr lang="pt-BR" sz="1600" b="1" dirty="0">
                <a:solidFill>
                  <a:schemeClr val="accent5"/>
                </a:solidFill>
                <a:latin typeface="TIM Sans" panose="00000500000000000000" charset="0"/>
              </a:rPr>
              <a:t>“</a:t>
            </a:r>
            <a:r>
              <a:rPr lang="pt-BR" sz="1600" b="1" dirty="0" err="1">
                <a:solidFill>
                  <a:schemeClr val="accent5"/>
                </a:solidFill>
                <a:latin typeface="TIM Sans" panose="00000500000000000000" charset="0"/>
              </a:rPr>
              <a:t>Rechamadas</a:t>
            </a:r>
            <a:r>
              <a:rPr lang="pt-BR" sz="1600" b="1" dirty="0">
                <a:solidFill>
                  <a:schemeClr val="accent5"/>
                </a:solidFill>
                <a:latin typeface="TIM Sans" panose="00000500000000000000" charset="0"/>
              </a:rPr>
              <a:t>”, </a:t>
            </a:r>
            <a:r>
              <a:rPr lang="pt-BR" sz="1600" dirty="0">
                <a:solidFill>
                  <a:srgbClr val="0000F4"/>
                </a:solidFill>
                <a:latin typeface="TIM Sans" panose="00000500000000000000"/>
              </a:rPr>
              <a:t>ou seja, tem a necessidade de ligar mais de uma vez para resolver o problema</a:t>
            </a:r>
          </a:p>
          <a:p>
            <a:endParaRPr lang="pt-BR" sz="1600" dirty="0">
              <a:solidFill>
                <a:srgbClr val="0000F4"/>
              </a:solidFill>
              <a:latin typeface="TIM Sans" panose="00000500000000000000"/>
            </a:endParaRP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E7C0A010-ED7C-49F4-91D5-9F09F190127F}"/>
              </a:ext>
            </a:extLst>
          </p:cNvPr>
          <p:cNvGrpSpPr/>
          <p:nvPr/>
        </p:nvGrpSpPr>
        <p:grpSpPr>
          <a:xfrm>
            <a:off x="8144219" y="1684771"/>
            <a:ext cx="860215" cy="763461"/>
            <a:chOff x="8232985" y="1518717"/>
            <a:chExt cx="1061800" cy="983306"/>
          </a:xfrm>
        </p:grpSpPr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AB526D6C-A798-4B33-94DB-3E4804E01090}"/>
                </a:ext>
              </a:extLst>
            </p:cNvPr>
            <p:cNvSpPr txBox="1"/>
            <p:nvPr/>
          </p:nvSpPr>
          <p:spPr>
            <a:xfrm>
              <a:off x="8232985" y="2145260"/>
              <a:ext cx="1061800" cy="35676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endParaRPr lang="pt-BR" sz="1200">
                <a:solidFill>
                  <a:srgbClr val="0000FF"/>
                </a:solidFill>
                <a:latin typeface="TIM Sans" pitchFamily="2" charset="77"/>
              </a:endParaRPr>
            </a:p>
          </p:txBody>
        </p:sp>
        <p:pic>
          <p:nvPicPr>
            <p:cNvPr id="28" name="Picture 27">
              <a:extLst>
                <a:ext uri="{FF2B5EF4-FFF2-40B4-BE49-F238E27FC236}">
                  <a16:creationId xmlns:a16="http://schemas.microsoft.com/office/drawing/2014/main" id="{1C1DE44A-E46E-4E0C-83FE-438A14341D1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8484569" y="1518717"/>
              <a:ext cx="587997" cy="587997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55012743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9849837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6_Miolo">
  <a:themeElements>
    <a:clrScheme name="TIM 1">
      <a:dk1>
        <a:srgbClr val="0000F4"/>
      </a:dk1>
      <a:lt1>
        <a:srgbClr val="FFFFFF"/>
      </a:lt1>
      <a:dk2>
        <a:srgbClr val="0000F3"/>
      </a:dk2>
      <a:lt2>
        <a:srgbClr val="FFFFFF"/>
      </a:lt2>
      <a:accent1>
        <a:srgbClr val="EB0028"/>
      </a:accent1>
      <a:accent2>
        <a:srgbClr val="A6192E"/>
      </a:accent2>
      <a:accent3>
        <a:srgbClr val="009FDF"/>
      </a:accent3>
      <a:accent4>
        <a:srgbClr val="4BCFFF"/>
      </a:accent4>
      <a:accent5>
        <a:srgbClr val="002E46"/>
      </a:accent5>
      <a:accent6>
        <a:srgbClr val="003264"/>
      </a:accent6>
      <a:hlink>
        <a:srgbClr val="05C5E9"/>
      </a:hlink>
      <a:folHlink>
        <a:srgbClr val="9E3769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4489</TotalTime>
  <Words>907</Words>
  <Application>Microsoft Office PowerPoint</Application>
  <PresentationFormat>Widescreen</PresentationFormat>
  <Paragraphs>237</Paragraphs>
  <Slides>9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20" baseType="lpstr">
      <vt:lpstr>Arial</vt:lpstr>
      <vt:lpstr>Calibri</vt:lpstr>
      <vt:lpstr>Calibri Light</vt:lpstr>
      <vt:lpstr>TIM Sans</vt:lpstr>
      <vt:lpstr>TIM Sans Heavy</vt:lpstr>
      <vt:lpstr>TIM Sans Light</vt:lpstr>
      <vt:lpstr>TIM Sans Medium</vt:lpstr>
      <vt:lpstr>TIM Sans Thin</vt:lpstr>
      <vt:lpstr>Office Theme</vt:lpstr>
      <vt:lpstr>6_Miolo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oseph Cozer Saadia</dc:creator>
  <cp:lastModifiedBy>Joseph Cozer Saadia</cp:lastModifiedBy>
  <cp:revision>16</cp:revision>
  <dcterms:created xsi:type="dcterms:W3CDTF">2023-03-22T18:05:50Z</dcterms:created>
  <dcterms:modified xsi:type="dcterms:W3CDTF">2023-04-25T18:34:1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66e7e18f-5bef-4af5-83ed-4f28cda7ebe7_Enabled">
    <vt:lpwstr>true</vt:lpwstr>
  </property>
  <property fmtid="{D5CDD505-2E9C-101B-9397-08002B2CF9AE}" pid="3" name="MSIP_Label_66e7e18f-5bef-4af5-83ed-4f28cda7ebe7_SetDate">
    <vt:lpwstr>2023-04-05T14:58:22Z</vt:lpwstr>
  </property>
  <property fmtid="{D5CDD505-2E9C-101B-9397-08002B2CF9AE}" pid="4" name="MSIP_Label_66e7e18f-5bef-4af5-83ed-4f28cda7ebe7_Method">
    <vt:lpwstr>Privileged</vt:lpwstr>
  </property>
  <property fmtid="{D5CDD505-2E9C-101B-9397-08002B2CF9AE}" pid="5" name="MSIP_Label_66e7e18f-5bef-4af5-83ed-4f28cda7ebe7_Name">
    <vt:lpwstr>66e7e18f-5bef-4af5-83ed-4f28cda7ebe7</vt:lpwstr>
  </property>
  <property fmtid="{D5CDD505-2E9C-101B-9397-08002B2CF9AE}" pid="6" name="MSIP_Label_66e7e18f-5bef-4af5-83ed-4f28cda7ebe7_SiteId">
    <vt:lpwstr>57b8c96e-ac2f-4d78-a149-f1fc6817d3c4</vt:lpwstr>
  </property>
  <property fmtid="{D5CDD505-2E9C-101B-9397-08002B2CF9AE}" pid="7" name="MSIP_Label_66e7e18f-5bef-4af5-83ed-4f28cda7ebe7_ActionId">
    <vt:lpwstr>25885c6c-0f67-4472-95d7-827029737978</vt:lpwstr>
  </property>
  <property fmtid="{D5CDD505-2E9C-101B-9397-08002B2CF9AE}" pid="8" name="MSIP_Label_66e7e18f-5bef-4af5-83ed-4f28cda7ebe7_ContentBits">
    <vt:lpwstr>2</vt:lpwstr>
  </property>
</Properties>
</file>